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8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9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0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charts/chart1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807" r:id="rId2"/>
    <p:sldMasterId id="2147483851" r:id="rId3"/>
  </p:sldMasterIdLst>
  <p:notesMasterIdLst>
    <p:notesMasterId r:id="rId36"/>
  </p:notesMasterIdLst>
  <p:handoutMasterIdLst>
    <p:handoutMasterId r:id="rId37"/>
  </p:handoutMasterIdLst>
  <p:sldIdLst>
    <p:sldId id="581" r:id="rId4"/>
    <p:sldId id="574" r:id="rId5"/>
    <p:sldId id="518" r:id="rId6"/>
    <p:sldId id="561" r:id="rId7"/>
    <p:sldId id="562" r:id="rId8"/>
    <p:sldId id="580" r:id="rId9"/>
    <p:sldId id="563" r:id="rId10"/>
    <p:sldId id="541" r:id="rId11"/>
    <p:sldId id="542" r:id="rId12"/>
    <p:sldId id="539" r:id="rId13"/>
    <p:sldId id="532" r:id="rId14"/>
    <p:sldId id="578" r:id="rId15"/>
    <p:sldId id="575" r:id="rId16"/>
    <p:sldId id="559" r:id="rId17"/>
    <p:sldId id="522" r:id="rId18"/>
    <p:sldId id="523" r:id="rId19"/>
    <p:sldId id="526" r:id="rId20"/>
    <p:sldId id="569" r:id="rId21"/>
    <p:sldId id="560" r:id="rId22"/>
    <p:sldId id="529" r:id="rId23"/>
    <p:sldId id="528" r:id="rId24"/>
    <p:sldId id="530" r:id="rId25"/>
    <p:sldId id="534" r:id="rId26"/>
    <p:sldId id="545" r:id="rId27"/>
    <p:sldId id="546" r:id="rId28"/>
    <p:sldId id="547" r:id="rId29"/>
    <p:sldId id="551" r:id="rId30"/>
    <p:sldId id="552" r:id="rId31"/>
    <p:sldId id="579" r:id="rId32"/>
    <p:sldId id="556" r:id="rId33"/>
    <p:sldId id="557" r:id="rId34"/>
    <p:sldId id="582" r:id="rId35"/>
  </p:sldIdLst>
  <p:sldSz cx="9144000" cy="6858000" type="screen4x3"/>
  <p:notesSz cx="6858000" cy="92964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oyanoff, Pavlin" initials="SP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8B00"/>
    <a:srgbClr val="DB291C"/>
    <a:srgbClr val="3C8A2E"/>
    <a:srgbClr val="000000"/>
    <a:srgbClr val="FFCD00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37" autoAdjust="0"/>
    <p:restoredTop sz="94984" autoAdjust="0"/>
  </p:normalViewPr>
  <p:slideViewPr>
    <p:cSldViewPr snapToGrid="0" showGuides="1">
      <p:cViewPr>
        <p:scale>
          <a:sx n="83" d="100"/>
          <a:sy n="83" d="100"/>
        </p:scale>
        <p:origin x="-942" y="-534"/>
      </p:cViewPr>
      <p:guideLst>
        <p:guide orient="horz" pos="2160"/>
        <p:guide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1572" y="78"/>
      </p:cViewPr>
      <p:guideLst>
        <p:guide orient="horz" pos="2928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6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7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file:///C:\Users\Aglika\Documents\NECP\&#1084;&#1086;&#1076;&#1077;&#1083;\3rd\&#1051;&#1059;&#1051;&#1059;&#1062;&#1060;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file:///C:\Users\Aglika\Documents\NECP\&#1084;&#1086;&#1076;&#1077;&#1083;\3rd\&#1051;&#1059;&#1051;&#1059;&#1062;&#106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E:\TAX\ID2\FE2BCA1C-D8D3-425F-B978-6286AF3EEE4B\0\7052000-7052999\7052747\L\L\(B)EST_Results_diagramms%20-%2013.12.2019%20-%20FINAL_BG%20(ID%207052747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E:\TAX\ID2\FE2BCA1C-D8D3-425F-B978-6286AF3EEE4B\0\7052000-7052999\7052747\L\L\(B)EST_Results_diagramms%20-%2013.12.2019%20-%20FINAL_BG%20(ID%207052747)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stoyanoff\Desktop\BEST%20Publ%20Consult\Copy%20of%20(B)EST_Results_diagramms%20-%2013.12.2019%20-%20FINAL_BG%20(ID%207052747)%20-%20&#1052;&#1045;&#1045;.xlsx" TargetMode="External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stoyanoff\Desktop\BEST%20Publ%20Consult\Copy%20of%20(B)EST_Results_diagramms%20-%2013.12.2019%20-%20FINAL_BG%20(ID%207052747)%20-%20&#1052;&#1045;&#1045;.xlsx" TargetMode="External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stoyanoff\Desktop\BEST%20Publ%20Consult\Copy%20of%20(B)EST_Results_diagramms%20-%2013.12.2019%20-%20FINAL_BG%20(ID%207052747)%20-%20&#1052;&#1045;&#1045;.xlsx" TargetMode="External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stoyanoff\Desktop\BEST%20Publ%20Consult\Copy%20of%20(B)EST_Results_diagramms%20-%2013.12.2019%20-%20FINAL_BG%20(ID%207052747)%20-%20&#1052;&#1045;&#1045;.xlsx" TargetMode="External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bg-BG" dirty="0"/>
              <a:t>Индекс </a:t>
            </a:r>
            <a:r>
              <a:rPr lang="en-US" dirty="0" smtClean="0"/>
              <a:t>2005=100%</a:t>
            </a:r>
            <a:endParaRPr lang="en-US" dirty="0"/>
          </a:p>
        </c:rich>
      </c:tx>
      <c:layout>
        <c:manualLayout>
          <c:xMode val="edge"/>
          <c:yMode val="edge"/>
          <c:x val="1.5208145454292414E-3"/>
          <c:y val="6.7933450770385853E-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EM2019'!$A$9</c:f>
              <c:strCache>
                <c:ptCount val="1"/>
                <c:pt idx="0">
                  <c:v>Енергийна интензивност на БВП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WEM2019'!$B$8:$K$8</c:f>
              <c:numCache>
                <c:formatCode>General</c:formatCode>
                <c:ptCount val="10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</c:numCache>
            </c:numRef>
          </c:cat>
          <c:val>
            <c:numRef>
              <c:f>'WEM2019'!$B$9:$K$9</c:f>
              <c:numCache>
                <c:formatCode>0</c:formatCode>
                <c:ptCount val="10"/>
                <c:pt idx="0">
                  <c:v>100</c:v>
                </c:pt>
                <c:pt idx="1">
                  <c:v>85.278973034997136</c:v>
                </c:pt>
                <c:pt idx="2">
                  <c:v>73.495997172506506</c:v>
                </c:pt>
                <c:pt idx="3">
                  <c:v>63.961465915176852</c:v>
                </c:pt>
                <c:pt idx="4">
                  <c:v>55.772828920940476</c:v>
                </c:pt>
                <c:pt idx="5">
                  <c:v>46.680083840846038</c:v>
                </c:pt>
                <c:pt idx="6">
                  <c:v>41.145447520318839</c:v>
                </c:pt>
                <c:pt idx="7">
                  <c:v>37.630243652658017</c:v>
                </c:pt>
                <c:pt idx="8">
                  <c:v>35.39682931622653</c:v>
                </c:pt>
                <c:pt idx="9">
                  <c:v>29.5935635397302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2B-4EB7-BEB5-D72B16EC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0125056"/>
        <c:axId val="30139136"/>
      </c:barChart>
      <c:lineChart>
        <c:grouping val="standard"/>
        <c:varyColors val="0"/>
        <c:ser>
          <c:idx val="1"/>
          <c:order val="1"/>
          <c:tx>
            <c:strRef>
              <c:f>'WEM2019'!$A$10</c:f>
              <c:strCache>
                <c:ptCount val="1"/>
                <c:pt idx="0">
                  <c:v>Брутно вътрешно потребление на енергия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WEM2019'!$B$8:$K$8</c:f>
              <c:numCache>
                <c:formatCode>General</c:formatCode>
                <c:ptCount val="10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</c:numCache>
            </c:numRef>
          </c:cat>
          <c:val>
            <c:numRef>
              <c:f>'WEM2019'!$B$10:$K$10</c:f>
              <c:numCache>
                <c:formatCode>0</c:formatCode>
                <c:ptCount val="10"/>
                <c:pt idx="0">
                  <c:v>100</c:v>
                </c:pt>
                <c:pt idx="1">
                  <c:v>100</c:v>
                </c:pt>
                <c:pt idx="2">
                  <c:v>94.10208773506605</c:v>
                </c:pt>
                <c:pt idx="3">
                  <c:v>96.89922125505629</c:v>
                </c:pt>
                <c:pt idx="4">
                  <c:v>97.386552833052363</c:v>
                </c:pt>
                <c:pt idx="5">
                  <c:v>92.979292002491931</c:v>
                </c:pt>
                <c:pt idx="6">
                  <c:v>90.794764909406041</c:v>
                </c:pt>
                <c:pt idx="7">
                  <c:v>89.485395782358196</c:v>
                </c:pt>
                <c:pt idx="8">
                  <c:v>88.685275705779844</c:v>
                </c:pt>
                <c:pt idx="9">
                  <c:v>77.41626958743624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52B-4EB7-BEB5-D72B16ECCE65}"/>
            </c:ext>
          </c:extLst>
        </c:ser>
        <c:ser>
          <c:idx val="2"/>
          <c:order val="2"/>
          <c:tx>
            <c:strRef>
              <c:f>'WEM2019'!$A$11</c:f>
              <c:strCache>
                <c:ptCount val="1"/>
                <c:pt idx="0">
                  <c:v>БВП (по цени за 2015 г.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WEM2019'!$B$8:$K$8</c:f>
              <c:numCache>
                <c:formatCode>General</c:formatCode>
                <c:ptCount val="10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</c:numCache>
            </c:numRef>
          </c:cat>
          <c:val>
            <c:numRef>
              <c:f>'WEM2019'!$B$11:$K$11</c:f>
              <c:numCache>
                <c:formatCode>0</c:formatCode>
                <c:ptCount val="10"/>
                <c:pt idx="0">
                  <c:v>100</c:v>
                </c:pt>
                <c:pt idx="1">
                  <c:v>117.26220009586841</c:v>
                </c:pt>
                <c:pt idx="2">
                  <c:v>128.03702426704115</c:v>
                </c:pt>
                <c:pt idx="3">
                  <c:v>151.49624835609643</c:v>
                </c:pt>
                <c:pt idx="4">
                  <c:v>174.61289792400615</c:v>
                </c:pt>
                <c:pt idx="5">
                  <c:v>199.18407241833859</c:v>
                </c:pt>
                <c:pt idx="6">
                  <c:v>220.66782689523282</c:v>
                </c:pt>
                <c:pt idx="7">
                  <c:v>237.80179742747259</c:v>
                </c:pt>
                <c:pt idx="8">
                  <c:v>250.54581842200471</c:v>
                </c:pt>
                <c:pt idx="9">
                  <c:v>261.598335339043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C52B-4EB7-BEB5-D72B16ECCE65}"/>
            </c:ext>
          </c:extLst>
        </c:ser>
        <c:ser>
          <c:idx val="3"/>
          <c:order val="3"/>
          <c:tx>
            <c:strRef>
              <c:f>'WEM2019'!$A$12</c:f>
              <c:strCache>
                <c:ptCount val="1"/>
                <c:pt idx="0">
                  <c:v>Тенцендия 2005-2050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WEM2019'!$B$8:$K$8</c:f>
              <c:numCache>
                <c:formatCode>General</c:formatCode>
                <c:ptCount val="10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  <c:pt idx="6">
                  <c:v>2035</c:v>
                </c:pt>
                <c:pt idx="7">
                  <c:v>2040</c:v>
                </c:pt>
                <c:pt idx="8">
                  <c:v>2045</c:v>
                </c:pt>
                <c:pt idx="9">
                  <c:v>2050</c:v>
                </c:pt>
              </c:numCache>
            </c:numRef>
          </c:cat>
          <c:val>
            <c:numRef>
              <c:f>'WEM2019'!$B$12:$K$12</c:f>
              <c:numCache>
                <c:formatCode>0</c:formatCode>
                <c:ptCount val="10"/>
                <c:pt idx="0">
                  <c:v>100</c:v>
                </c:pt>
                <c:pt idx="1">
                  <c:v>100</c:v>
                </c:pt>
                <c:pt idx="2">
                  <c:v>109.18865939950277</c:v>
                </c:pt>
                <c:pt idx="3">
                  <c:v>129.19444478462779</c:v>
                </c:pt>
                <c:pt idx="4">
                  <c:v>148.90808613624026</c:v>
                </c:pt>
                <c:pt idx="5">
                  <c:v>169.86213140764414</c:v>
                </c:pt>
                <c:pt idx="6">
                  <c:v>188.18325659489977</c:v>
                </c:pt>
                <c:pt idx="7">
                  <c:v>202.79493070491284</c:v>
                </c:pt>
                <c:pt idx="8">
                  <c:v>213.66290093241429</c:v>
                </c:pt>
                <c:pt idx="9">
                  <c:v>223.0883738537838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C52B-4EB7-BEB5-D72B16EC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125056"/>
        <c:axId val="30139136"/>
      </c:lineChart>
      <c:catAx>
        <c:axId val="30125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30139136"/>
        <c:crosses val="autoZero"/>
        <c:auto val="1"/>
        <c:lblAlgn val="ctr"/>
        <c:lblOffset val="100"/>
        <c:noMultiLvlLbl val="0"/>
      </c:catAx>
      <c:valAx>
        <c:axId val="301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30125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38858228083616E-2"/>
          <c:y val="0.81414510636471726"/>
          <c:w val="0.9172867849350157"/>
          <c:h val="0.185854893635282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gap"/>
    <c:showDLblsOverMax val="0"/>
  </c:chart>
  <c:spPr>
    <a:solidFill>
      <a:sysClr val="window" lastClr="FFFFFF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bg-BG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347085596828656E-3"/>
          <c:y val="2.7310924369747899E-2"/>
          <c:w val="0.9847305828806342"/>
          <c:h val="0.945378151260504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9DD4C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9DD4CF"/>
              </a:solidFill>
              <a:ln w="9525" algn="ctr">
                <a:solidFill>
                  <a:srgbClr val="9DD4CF"/>
                </a:solidFill>
                <a:prstDash val="solid"/>
              </a:ln>
            </c:spPr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2</c:v>
                </c:pt>
                <c:pt idx="2">
                  <c:v>2025</c:v>
                </c:pt>
                <c:pt idx="3">
                  <c:v>2027</c:v>
                </c:pt>
                <c:pt idx="4">
                  <c:v>2030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19.560797274704413</c:v>
                </c:pt>
                <c:pt idx="1">
                  <c:v>21.254573321053137</c:v>
                </c:pt>
                <c:pt idx="2">
                  <c:v>23.795237390576219</c:v>
                </c:pt>
                <c:pt idx="3">
                  <c:v>25.077206449125335</c:v>
                </c:pt>
                <c:pt idx="4">
                  <c:v>27.00016003694901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C24-44A4-ADAF-1676EBC65D6D}"/>
            </c:ext>
          </c:extLst>
        </c:ser>
        <c:ser>
          <c:idx val="1"/>
          <c:order val="1"/>
          <c:spPr>
            <a:ln w="28575" algn="ctr">
              <a:solidFill>
                <a:srgbClr val="FFFFF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FFFFFF"/>
              </a:solidFill>
              <a:ln w="9525" algn="ctr">
                <a:solidFill>
                  <a:srgbClr val="FFFFFF"/>
                </a:solidFill>
                <a:prstDash val="solid"/>
              </a:ln>
            </c:spPr>
          </c:marker>
          <c:dPt>
            <c:idx val="0"/>
            <c:marker>
              <c:symbol val="triangle"/>
              <c:size val="6"/>
              <c:spPr>
                <a:solidFill>
                  <a:srgbClr val="86BC25"/>
                </a:solidFill>
                <a:ln w="9525" algn="ctr">
                  <a:solidFill>
                    <a:srgbClr val="86BC2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C24-44A4-ADAF-1676EBC65D6D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rgbClr val="86BC25"/>
                </a:solidFill>
                <a:ln w="9525" algn="ctr">
                  <a:solidFill>
                    <a:srgbClr val="86BC2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C24-44A4-ADAF-1676EBC65D6D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rgbClr val="86BC25"/>
                </a:solidFill>
                <a:ln w="9525" algn="ctr">
                  <a:solidFill>
                    <a:srgbClr val="86BC2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C24-44A4-ADAF-1676EBC65D6D}"/>
              </c:ext>
            </c:extLst>
          </c:dPt>
          <c:dPt>
            <c:idx val="3"/>
            <c:marker>
              <c:symbol val="triangle"/>
              <c:size val="6"/>
              <c:spPr>
                <a:solidFill>
                  <a:srgbClr val="86BC25"/>
                </a:solidFill>
                <a:ln w="9525" algn="ctr">
                  <a:solidFill>
                    <a:srgbClr val="86BC2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DC24-44A4-ADAF-1676EBC65D6D}"/>
              </c:ext>
            </c:extLst>
          </c:dPt>
          <c:dPt>
            <c:idx val="4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DC24-44A4-ADAF-1676EBC65D6D}"/>
              </c:ext>
            </c:extLst>
          </c:dPt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2</c:v>
                </c:pt>
                <c:pt idx="2">
                  <c:v>2025</c:v>
                </c:pt>
                <c:pt idx="3">
                  <c:v>2027</c:v>
                </c:pt>
                <c:pt idx="4">
                  <c:v>2030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16</c:v>
                </c:pt>
                <c:pt idx="1">
                  <c:v>17.98</c:v>
                </c:pt>
                <c:pt idx="2">
                  <c:v>20.73</c:v>
                </c:pt>
                <c:pt idx="3">
                  <c:v>23.1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DC24-44A4-ADAF-1676EBC65D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757376"/>
        <c:axId val="26771456"/>
      </c:scatterChart>
      <c:valAx>
        <c:axId val="26757376"/>
        <c:scaling>
          <c:orientation val="minMax"/>
          <c:max val="2030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6771456"/>
        <c:crosses val="min"/>
        <c:crossBetween val="midCat"/>
        <c:majorUnit val="2"/>
      </c:valAx>
      <c:valAx>
        <c:axId val="26771456"/>
        <c:scaling>
          <c:orientation val="minMax"/>
          <c:max val="28"/>
          <c:min val="1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26757376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347085596828656E-3"/>
          <c:y val="2.7310924369747899E-2"/>
          <c:w val="0.9847305828806342"/>
          <c:h val="0.945378151260504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9DD4C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9DD4CF"/>
              </a:solidFill>
              <a:ln w="9525" algn="ctr">
                <a:solidFill>
                  <a:srgbClr val="9DD4CF"/>
                </a:solidFill>
                <a:prstDash val="solid"/>
              </a:ln>
            </c:spPr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2</c:v>
                </c:pt>
                <c:pt idx="2">
                  <c:v>2025</c:v>
                </c:pt>
                <c:pt idx="3">
                  <c:v>2027</c:v>
                </c:pt>
                <c:pt idx="4">
                  <c:v>2030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31.198990259916894</c:v>
                </c:pt>
                <c:pt idx="1">
                  <c:v>36.22</c:v>
                </c:pt>
                <c:pt idx="2">
                  <c:v>43.75</c:v>
                </c:pt>
                <c:pt idx="3">
                  <c:v>45.89</c:v>
                </c:pt>
                <c:pt idx="4">
                  <c:v>49.0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9BE-411C-BE65-FB938B6C5114}"/>
            </c:ext>
          </c:extLst>
        </c:ser>
        <c:ser>
          <c:idx val="1"/>
          <c:order val="1"/>
          <c:spPr>
            <a:ln w="28575" algn="ctr">
              <a:solidFill>
                <a:srgbClr val="00ABAB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00ABAB"/>
              </a:solidFill>
              <a:ln w="9525" algn="ctr">
                <a:solidFill>
                  <a:srgbClr val="00ABAB"/>
                </a:solidFill>
                <a:prstDash val="solid"/>
              </a:ln>
            </c:spPr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2</c:v>
                </c:pt>
                <c:pt idx="2">
                  <c:v>2025</c:v>
                </c:pt>
                <c:pt idx="3">
                  <c:v>2027</c:v>
                </c:pt>
                <c:pt idx="4">
                  <c:v>2030</c:v>
                </c:pt>
              </c:numCache>
            </c:numRef>
          </c:xVal>
          <c:yVal>
            <c:numRef>
              <c:f>Sheet1!$A$3:$E$3</c:f>
              <c:numCache>
                <c:formatCode>General</c:formatCode>
                <c:ptCount val="5"/>
                <c:pt idx="0">
                  <c:v>19.04</c:v>
                </c:pt>
                <c:pt idx="1">
                  <c:v>19.38</c:v>
                </c:pt>
                <c:pt idx="2">
                  <c:v>19.88</c:v>
                </c:pt>
                <c:pt idx="3">
                  <c:v>22.55</c:v>
                </c:pt>
                <c:pt idx="4">
                  <c:v>26.5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9BE-411C-BE65-FB938B6C5114}"/>
            </c:ext>
          </c:extLst>
        </c:ser>
        <c:ser>
          <c:idx val="2"/>
          <c:order val="2"/>
          <c:spPr>
            <a:ln w="28575" algn="ctr">
              <a:solidFill>
                <a:srgbClr val="007680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007680"/>
              </a:solidFill>
              <a:ln w="9525" algn="ctr">
                <a:solidFill>
                  <a:srgbClr val="007680"/>
                </a:solidFill>
                <a:prstDash val="solid"/>
              </a:ln>
            </c:spPr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2</c:v>
                </c:pt>
                <c:pt idx="2">
                  <c:v>2025</c:v>
                </c:pt>
                <c:pt idx="3">
                  <c:v>2027</c:v>
                </c:pt>
                <c:pt idx="4">
                  <c:v>2030</c:v>
                </c:pt>
              </c:numCache>
            </c:numRef>
          </c:xVal>
          <c:yVal>
            <c:numRef>
              <c:f>Sheet1!$A$4:$E$4</c:f>
              <c:numCache>
                <c:formatCode>General</c:formatCode>
                <c:ptCount val="5"/>
                <c:pt idx="0">
                  <c:v>9.8800000000000008</c:v>
                </c:pt>
                <c:pt idx="1">
                  <c:v>9.8800000000000008</c:v>
                </c:pt>
                <c:pt idx="2">
                  <c:v>9.8699999999999992</c:v>
                </c:pt>
                <c:pt idx="3">
                  <c:v>11.65</c:v>
                </c:pt>
                <c:pt idx="4">
                  <c:v>14.3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39BE-411C-BE65-FB938B6C5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256896"/>
        <c:axId val="88258816"/>
      </c:scatterChart>
      <c:valAx>
        <c:axId val="88256896"/>
        <c:scaling>
          <c:orientation val="minMax"/>
          <c:max val="2030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8258816"/>
        <c:crosses val="min"/>
        <c:crossBetween val="midCat"/>
        <c:majorUnit val="2"/>
      </c:valAx>
      <c:valAx>
        <c:axId val="88258816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8825689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bg-BG" sz="1400" b="1" dirty="0" smtClean="0">
                <a:solidFill>
                  <a:schemeClr val="tx1"/>
                </a:solidFill>
                <a:latin typeface="+mj-lt"/>
              </a:rPr>
              <a:t>Енергийни спестявания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'Summary&amp;Indicators'!$A$15:$B$15</c:f>
              <c:strCache>
                <c:ptCount val="2"/>
                <c:pt idx="0">
                  <c:v>Спестявания в първично потребление спрямо същата година на базов модел PRIMES 2007 (%)</c:v>
                </c:pt>
                <c:pt idx="1">
                  <c:v>12</c:v>
                </c:pt>
              </c:strCache>
            </c:strRef>
          </c:tx>
          <c:spPr>
            <a:ln w="19050" cap="rnd" cmpd="sng" algn="ctr">
              <a:solidFill>
                <a:schemeClr val="accent1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Summary&amp;Indicators'!$C$2:$F$2</c:f>
              <c:numCache>
                <c:formatCode>General_)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ummary&amp;Indicators'!$C$15:$F$15</c:f>
              <c:numCache>
                <c:formatCode>0.00</c:formatCode>
                <c:ptCount val="3"/>
                <c:pt idx="0">
                  <c:v>-14.960146861052381</c:v>
                </c:pt>
                <c:pt idx="1">
                  <c:v>-20.914604067519406</c:v>
                </c:pt>
                <c:pt idx="2">
                  <c:v>-27.356770130154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65D-4E2B-9D14-149DBB632BF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8541440"/>
        <c:axId val="88568960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Summary&amp;Indicators'!$A$16:$B$16</c15:sqref>
                        </c15:formulaRef>
                      </c:ext>
                    </c:extLst>
                    <c:strCache>
                      <c:ptCount val="2"/>
                      <c:pt idx="0">
                        <c:v>Спестявания в крайно потребление спрямо същата година на базов модел PRIMES 2007 (%)</c:v>
                      </c:pt>
                      <c:pt idx="1">
                        <c:v>13</c:v>
                      </c:pt>
                    </c:strCache>
                  </c:strRef>
                </c:tx>
                <c:spPr>
                  <a:ln w="19050" cap="rnd" cmpd="sng" algn="ctr">
                    <a:solidFill>
                      <a:schemeClr val="accent3">
                        <a:shade val="95000"/>
                        <a:satMod val="105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17"/>
                  <c:spPr>
                    <a:solidFill>
                      <a:schemeClr val="lt1"/>
                    </a:solidFill>
                    <a:ln>
                      <a:noFill/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1" i="0" u="none" strike="noStrike" kern="1200" baseline="0">
                          <a:solidFill>
                            <a:srgbClr val="004F59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dk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'Summary&amp;Indicators'!$C$2:$F$2</c15:sqref>
                        </c15:formulaRef>
                      </c:ext>
                    </c:extLst>
                    <c:numCache>
                      <c:formatCode>General_)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Summary&amp;Indicators'!$C$16:$F$16</c15:sqref>
                        </c15:formulaRef>
                      </c:ext>
                    </c:extLst>
                    <c:numCache>
                      <c:formatCode>0.00</c:formatCode>
                      <c:ptCount val="3"/>
                      <c:pt idx="0">
                        <c:v>-23.091458028504285</c:v>
                      </c:pt>
                      <c:pt idx="1">
                        <c:v>-27.470142894491644</c:v>
                      </c:pt>
                      <c:pt idx="2">
                        <c:v>-31.61962822716192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265D-4E2B-9D14-149DBB632BF1}"/>
                  </c:ext>
                </c:extLst>
              </c15:ser>
            </c15:filteredLineSeries>
          </c:ext>
        </c:extLst>
      </c:lineChart>
      <c:catAx>
        <c:axId val="88541440"/>
        <c:scaling>
          <c:orientation val="minMax"/>
        </c:scaling>
        <c:delete val="0"/>
        <c:axPos val="b"/>
        <c:numFmt formatCode="General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3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88568960"/>
        <c:crosses val="autoZero"/>
        <c:auto val="1"/>
        <c:lblAlgn val="ctr"/>
        <c:lblOffset val="100"/>
        <c:noMultiLvlLbl val="0"/>
      </c:catAx>
      <c:valAx>
        <c:axId val="88568960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88541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zero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bg-BG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NECP2019!$A$1183</c:f>
              <c:strCache>
                <c:ptCount val="1"/>
                <c:pt idx="0">
                  <c:v>Индустри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NECP2019!$D$1181:$K$118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1183:$K$1183</c:f>
              <c:numCache>
                <c:formatCode>0.0</c:formatCode>
                <c:ptCount val="8"/>
                <c:pt idx="0">
                  <c:v>1843.1467029418106</c:v>
                </c:pt>
                <c:pt idx="1">
                  <c:v>2118.5096523137372</c:v>
                </c:pt>
                <c:pt idx="2">
                  <c:v>2300.7236546454692</c:v>
                </c:pt>
                <c:pt idx="3">
                  <c:v>2384.3757278269595</c:v>
                </c:pt>
                <c:pt idx="4">
                  <c:v>2509.8497856441595</c:v>
                </c:pt>
                <c:pt idx="5">
                  <c:v>2745.0457759405513</c:v>
                </c:pt>
                <c:pt idx="6">
                  <c:v>2986.1923797072232</c:v>
                </c:pt>
                <c:pt idx="7">
                  <c:v>3164.45926710699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1A1-41DA-9F8A-8682D36FA665}"/>
            </c:ext>
          </c:extLst>
        </c:ser>
        <c:ser>
          <c:idx val="1"/>
          <c:order val="1"/>
          <c:tx>
            <c:strRef>
              <c:f>NECP2019!$A$1184</c:f>
              <c:strCache>
                <c:ptCount val="1"/>
                <c:pt idx="0">
                  <c:v>Домакинств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NECP2019!$D$1181:$K$118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1184:$K$1184</c:f>
              <c:numCache>
                <c:formatCode>0.0</c:formatCode>
                <c:ptCount val="8"/>
                <c:pt idx="0">
                  <c:v>2684.45798497032</c:v>
                </c:pt>
                <c:pt idx="1">
                  <c:v>3774.6705418723691</c:v>
                </c:pt>
                <c:pt idx="2">
                  <c:v>4511.4741130620214</c:v>
                </c:pt>
                <c:pt idx="3">
                  <c:v>4949.5357273443124</c:v>
                </c:pt>
                <c:pt idx="4">
                  <c:v>5464.7288588864285</c:v>
                </c:pt>
                <c:pt idx="5">
                  <c:v>5705.3704088255217</c:v>
                </c:pt>
                <c:pt idx="6">
                  <c:v>5759.5570434428564</c:v>
                </c:pt>
                <c:pt idx="7">
                  <c:v>6008.9139336307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1A1-41DA-9F8A-8682D36FA665}"/>
            </c:ext>
          </c:extLst>
        </c:ser>
        <c:ser>
          <c:idx val="2"/>
          <c:order val="2"/>
          <c:tx>
            <c:strRef>
              <c:f>NECP2019!$A$1185</c:f>
              <c:strCache>
                <c:ptCount val="1"/>
                <c:pt idx="0">
                  <c:v>Сектор услуг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NECP2019!$D$1181:$K$118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1185:$K$1185</c:f>
              <c:numCache>
                <c:formatCode>0.0</c:formatCode>
                <c:ptCount val="8"/>
                <c:pt idx="0">
                  <c:v>2370.958837228864</c:v>
                </c:pt>
                <c:pt idx="1">
                  <c:v>2955.2133795891059</c:v>
                </c:pt>
                <c:pt idx="2">
                  <c:v>3406.3662343678461</c:v>
                </c:pt>
                <c:pt idx="3">
                  <c:v>3491.8226332971553</c:v>
                </c:pt>
                <c:pt idx="4">
                  <c:v>3811.7497302215538</c:v>
                </c:pt>
                <c:pt idx="5">
                  <c:v>3824.4919060055772</c:v>
                </c:pt>
                <c:pt idx="6">
                  <c:v>3725.2319624249212</c:v>
                </c:pt>
                <c:pt idx="7">
                  <c:v>3907.83027700208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1A1-41DA-9F8A-8682D36FA665}"/>
            </c:ext>
          </c:extLst>
        </c:ser>
        <c:ser>
          <c:idx val="3"/>
          <c:order val="3"/>
          <c:tx>
            <c:strRef>
              <c:f>NECP2019!$A$1186</c:f>
              <c:strCache>
                <c:ptCount val="1"/>
                <c:pt idx="0">
                  <c:v>Транспорт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NECP2019!$D$1181:$K$118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1186:$K$1186</c:f>
              <c:numCache>
                <c:formatCode>0.0</c:formatCode>
                <c:ptCount val="8"/>
                <c:pt idx="0">
                  <c:v>13286.038223455353</c:v>
                </c:pt>
                <c:pt idx="1">
                  <c:v>16910.997132384582</c:v>
                </c:pt>
                <c:pt idx="2">
                  <c:v>18895.605165008725</c:v>
                </c:pt>
                <c:pt idx="3">
                  <c:v>21153.841988510419</c:v>
                </c:pt>
                <c:pt idx="4">
                  <c:v>24184.270727975494</c:v>
                </c:pt>
                <c:pt idx="5">
                  <c:v>27120.910386170282</c:v>
                </c:pt>
                <c:pt idx="6">
                  <c:v>26722.564623344257</c:v>
                </c:pt>
                <c:pt idx="7">
                  <c:v>26941.1295491841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1A1-41DA-9F8A-8682D36FA66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90364544"/>
        <c:axId val="90837376"/>
      </c:barChart>
      <c:catAx>
        <c:axId val="9036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90837376"/>
        <c:crosses val="autoZero"/>
        <c:auto val="1"/>
        <c:lblAlgn val="ctr"/>
        <c:lblOffset val="100"/>
        <c:noMultiLvlLbl val="0"/>
      </c:catAx>
      <c:valAx>
        <c:axId val="90837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90364544"/>
        <c:crosses val="autoZero"/>
        <c:crossBetween val="between"/>
        <c:dispUnits>
          <c:builtInUnit val="thousands"/>
          <c:dispUnitsLbl>
            <c:layout/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bn€</a:t>
                  </a:r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>
          <a:solidFill>
            <a:sysClr val="windowText" lastClr="000000"/>
          </a:solidFill>
        </a:defRPr>
      </a:pPr>
      <a:endParaRPr lang="bg-BG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'</a:t>
            </a:r>
            <a:r>
              <a:rPr lang="bg-BG" dirty="0"/>
              <a:t>Общо емисии на парникови газове, в </a:t>
            </a:r>
            <a:r>
              <a:rPr lang="en-US" dirty="0" err="1"/>
              <a:t>ktn</a:t>
            </a:r>
            <a:r>
              <a:rPr lang="en-US" dirty="0"/>
              <a:t> CO2 eq'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Енергетика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E$28:$H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29:$H$29</c:f>
              <c:numCache>
                <c:formatCode>General</c:formatCode>
                <c:ptCount val="4"/>
                <c:pt idx="0">
                  <c:v>44142.79</c:v>
                </c:pt>
                <c:pt idx="1">
                  <c:v>43567.37</c:v>
                </c:pt>
                <c:pt idx="2">
                  <c:v>39638.65</c:v>
                </c:pt>
                <c:pt idx="3">
                  <c:v>32205.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601-45EE-AB59-7EF3F09CD53C}"/>
            </c:ext>
          </c:extLst>
        </c:ser>
        <c:ser>
          <c:idx val="1"/>
          <c:order val="1"/>
          <c:tx>
            <c:v>Индустриални процеси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E$28:$H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30:$H$30</c:f>
              <c:numCache>
                <c:formatCode>General</c:formatCode>
                <c:ptCount val="4"/>
                <c:pt idx="0">
                  <c:v>5705.88</c:v>
                </c:pt>
                <c:pt idx="1">
                  <c:v>6127.65</c:v>
                </c:pt>
                <c:pt idx="2">
                  <c:v>6824.34</c:v>
                </c:pt>
                <c:pt idx="3">
                  <c:v>7420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601-45EE-AB59-7EF3F09CD53C}"/>
            </c:ext>
          </c:extLst>
        </c:ser>
        <c:ser>
          <c:idx val="2"/>
          <c:order val="2"/>
          <c:tx>
            <c:v>Селско стопанство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E$28:$H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31:$H$31</c:f>
              <c:numCache>
                <c:formatCode>General</c:formatCode>
                <c:ptCount val="4"/>
                <c:pt idx="0">
                  <c:v>6043.52</c:v>
                </c:pt>
                <c:pt idx="1">
                  <c:v>6354.9</c:v>
                </c:pt>
                <c:pt idx="2">
                  <c:v>6822.92</c:v>
                </c:pt>
                <c:pt idx="3">
                  <c:v>7317.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601-45EE-AB59-7EF3F09CD53C}"/>
            </c:ext>
          </c:extLst>
        </c:ser>
        <c:ser>
          <c:idx val="3"/>
          <c:order val="3"/>
          <c:tx>
            <c:v>Отпадъци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E$28:$H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32:$H$32</c:f>
              <c:numCache>
                <c:formatCode>General</c:formatCode>
                <c:ptCount val="4"/>
                <c:pt idx="0">
                  <c:v>4157.6400000000003</c:v>
                </c:pt>
                <c:pt idx="1">
                  <c:v>3759.01</c:v>
                </c:pt>
                <c:pt idx="2">
                  <c:v>3410.54</c:v>
                </c:pt>
                <c:pt idx="3">
                  <c:v>3062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601-45EE-AB59-7EF3F09CD53C}"/>
            </c:ext>
          </c:extLst>
        </c:ser>
        <c:ser>
          <c:idx val="4"/>
          <c:order val="4"/>
          <c:tx>
            <c:v>ЗПЗГС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E$28:$H$28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33:$H$33</c:f>
              <c:numCache>
                <c:formatCode>General</c:formatCode>
                <c:ptCount val="4"/>
                <c:pt idx="0">
                  <c:v>-8488.58</c:v>
                </c:pt>
                <c:pt idx="1">
                  <c:v>-8641.15</c:v>
                </c:pt>
                <c:pt idx="2">
                  <c:v>-8594.27</c:v>
                </c:pt>
                <c:pt idx="3">
                  <c:v>-8591.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601-45EE-AB59-7EF3F09CD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30"/>
        <c:axId val="90618496"/>
        <c:axId val="90620672"/>
      </c:barChart>
      <c:catAx>
        <c:axId val="906184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bg-BG"/>
                  <a:t>Общо емисии на парникови газове, в </a:t>
                </a:r>
                <a:r>
                  <a:rPr lang="en-US"/>
                  <a:t>ktn CO2 eq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90620672"/>
        <c:crosses val="autoZero"/>
        <c:auto val="1"/>
        <c:lblAlgn val="ctr"/>
        <c:lblOffset val="100"/>
        <c:noMultiLvlLbl val="0"/>
      </c:catAx>
      <c:valAx>
        <c:axId val="90620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90618496"/>
        <c:crosses val="autoZero"/>
        <c:crossBetween val="between"/>
        <c:dispUnits>
          <c:builtInUnit val="thousands"/>
          <c:dispUnitsLbl>
            <c:layout/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bg-BG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'</a:t>
            </a:r>
            <a:r>
              <a:rPr lang="bg-BG" dirty="0"/>
              <a:t>Енергиен сектор  Общо емисии на парникови газове, в </a:t>
            </a:r>
            <a:r>
              <a:rPr lang="en-US" dirty="0" err="1"/>
              <a:t>ktn</a:t>
            </a:r>
            <a:r>
              <a:rPr lang="en-US" dirty="0"/>
              <a:t> CO2 eq'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Енергетика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E$44:$H$44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45:$H$45</c:f>
              <c:numCache>
                <c:formatCode>General</c:formatCode>
                <c:ptCount val="4"/>
                <c:pt idx="0">
                  <c:v>44142.79</c:v>
                </c:pt>
                <c:pt idx="1">
                  <c:v>43567.37</c:v>
                </c:pt>
                <c:pt idx="2">
                  <c:v>39638.65</c:v>
                </c:pt>
                <c:pt idx="3">
                  <c:v>32205.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038-46B0-80B5-0273E47AE679}"/>
            </c:ext>
          </c:extLst>
        </c:ser>
        <c:ser>
          <c:idx val="1"/>
          <c:order val="1"/>
          <c:tx>
            <c:v>Преработваща промишленост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E$44:$H$44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46:$H$46</c:f>
              <c:numCache>
                <c:formatCode>General</c:formatCode>
                <c:ptCount val="4"/>
                <c:pt idx="0">
                  <c:v>5055.3599999999997</c:v>
                </c:pt>
                <c:pt idx="1">
                  <c:v>5059.82</c:v>
                </c:pt>
                <c:pt idx="2">
                  <c:v>4483.5600000000004</c:v>
                </c:pt>
                <c:pt idx="3">
                  <c:v>4098.3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038-46B0-80B5-0273E47AE679}"/>
            </c:ext>
          </c:extLst>
        </c:ser>
        <c:ser>
          <c:idx val="2"/>
          <c:order val="2"/>
          <c:tx>
            <c:v>Транспорт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E$44:$H$44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47:$H$47</c:f>
              <c:numCache>
                <c:formatCode>General</c:formatCode>
                <c:ptCount val="4"/>
                <c:pt idx="0">
                  <c:v>6435.6</c:v>
                </c:pt>
                <c:pt idx="1">
                  <c:v>6284.2</c:v>
                </c:pt>
                <c:pt idx="2">
                  <c:v>6063.84</c:v>
                </c:pt>
                <c:pt idx="3">
                  <c:v>4945.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038-46B0-80B5-0273E47AE679}"/>
            </c:ext>
          </c:extLst>
        </c:ser>
        <c:ser>
          <c:idx val="3"/>
          <c:order val="3"/>
          <c:tx>
            <c:v>Други сектори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E$44:$H$44</c:f>
              <c:numCache>
                <c:formatCode>General</c:formatCode>
                <c:ptCount val="4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Sheet1!$E$48:$H$48</c:f>
              <c:numCache>
                <c:formatCode>General</c:formatCode>
                <c:ptCount val="4"/>
                <c:pt idx="0">
                  <c:v>1982.46</c:v>
                </c:pt>
                <c:pt idx="1">
                  <c:v>2193.6</c:v>
                </c:pt>
                <c:pt idx="2">
                  <c:v>1270.08</c:v>
                </c:pt>
                <c:pt idx="3">
                  <c:v>782.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038-46B0-80B5-0273E47AE6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30"/>
        <c:axId val="103995648"/>
        <c:axId val="104006016"/>
      </c:barChart>
      <c:catAx>
        <c:axId val="1039956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bg-BG"/>
                  <a:t>Енергиен сектор  Общо емисии на парникови газове, в </a:t>
                </a:r>
                <a:r>
                  <a:rPr lang="en-US"/>
                  <a:t>ktn CO2 eq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104006016"/>
        <c:crosses val="autoZero"/>
        <c:auto val="1"/>
        <c:lblAlgn val="ctr"/>
        <c:lblOffset val="100"/>
        <c:noMultiLvlLbl val="0"/>
      </c:catAx>
      <c:valAx>
        <c:axId val="104006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103995648"/>
        <c:crosses val="autoZero"/>
        <c:crossBetween val="between"/>
        <c:dispUnits>
          <c:builtInUnit val="thousands"/>
          <c:dispUnitsLbl>
            <c:layout>
              <c:manualLayout>
                <c:xMode val="edge"/>
                <c:yMode val="edge"/>
                <c:x val="9.3109869646182501E-3"/>
                <c:y val="0.14723563790802999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dirty="0" smtClean="0"/>
                    <a:t>Thousands</a:t>
                  </a:r>
                  <a:r>
                    <a:rPr lang="bg-BG" dirty="0" smtClean="0"/>
                    <a:t> </a:t>
                  </a:r>
                  <a:r>
                    <a:rPr lang="en-US" dirty="0" err="1" smtClean="0"/>
                    <a:t>ktoe</a:t>
                  </a:r>
                  <a:endParaRPr lang="en-US" dirty="0"/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bg-BG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NECP2019!$A$18</c:f>
          <c:strCache>
            <c:ptCount val="1"/>
            <c:pt idx="0">
              <c:v>Брутно вътрешно потребление по видове горива и енергия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bg-BG"/>
        </a:p>
      </c:txPr>
    </c:title>
    <c:autoTitleDeleted val="0"/>
    <c:plotArea>
      <c:layout>
        <c:manualLayout>
          <c:layoutTarget val="inner"/>
          <c:xMode val="edge"/>
          <c:yMode val="edge"/>
          <c:x val="0.11136327351083995"/>
          <c:y val="0.15952688172043011"/>
          <c:w val="0.79887063481888276"/>
          <c:h val="0.55365306839070094"/>
        </c:manualLayout>
      </c:layout>
      <c:areaChart>
        <c:grouping val="stacked"/>
        <c:varyColors val="0"/>
        <c:ser>
          <c:idx val="0"/>
          <c:order val="0"/>
          <c:tx>
            <c:strRef>
              <c:f>NECP2019!$A$19</c:f>
              <c:strCache>
                <c:ptCount val="1"/>
                <c:pt idx="0">
                  <c:v>Твърди горива</c:v>
                </c:pt>
              </c:strCache>
            </c:strRef>
          </c:tx>
          <c:spPr>
            <a:solidFill>
              <a:srgbClr val="ED8B00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19:$K$19</c:f>
              <c:numCache>
                <c:formatCode>0</c:formatCode>
                <c:ptCount val="8"/>
                <c:pt idx="0">
                  <c:v>77181.905113296598</c:v>
                </c:pt>
                <c:pt idx="1">
                  <c:v>73935.260107303693</c:v>
                </c:pt>
                <c:pt idx="2">
                  <c:v>72449.719047961102</c:v>
                </c:pt>
                <c:pt idx="3">
                  <c:v>53887.745941235757</c:v>
                </c:pt>
                <c:pt idx="4">
                  <c:v>34903.842631167878</c:v>
                </c:pt>
                <c:pt idx="5">
                  <c:v>5820.6285090934252</c:v>
                </c:pt>
                <c:pt idx="6">
                  <c:v>6464.6955151051025</c:v>
                </c:pt>
                <c:pt idx="7">
                  <c:v>4752.40086894594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2CB-4001-BD50-E96C1508BBF4}"/>
            </c:ext>
          </c:extLst>
        </c:ser>
        <c:ser>
          <c:idx val="1"/>
          <c:order val="1"/>
          <c:tx>
            <c:strRef>
              <c:f>NECP2019!$A$20</c:f>
              <c:strCache>
                <c:ptCount val="1"/>
                <c:pt idx="0">
                  <c:v>Нефт и нефтопродукти</c:v>
                </c:pt>
              </c:strCache>
            </c:strRef>
          </c:tx>
          <c:spPr>
            <a:solidFill>
              <a:schemeClr val="tx2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0:$K$20</c:f>
              <c:numCache>
                <c:formatCode>0</c:formatCode>
                <c:ptCount val="8"/>
                <c:pt idx="0">
                  <c:v>50643.43730794116</c:v>
                </c:pt>
                <c:pt idx="1">
                  <c:v>50487.75232159</c:v>
                </c:pt>
                <c:pt idx="2">
                  <c:v>48342.93797778857</c:v>
                </c:pt>
                <c:pt idx="3">
                  <c:v>45083.600169458412</c:v>
                </c:pt>
                <c:pt idx="4">
                  <c:v>42038.346873459835</c:v>
                </c:pt>
                <c:pt idx="5">
                  <c:v>39650.920301781836</c:v>
                </c:pt>
                <c:pt idx="6">
                  <c:v>38016.308940295996</c:v>
                </c:pt>
                <c:pt idx="7">
                  <c:v>36195.7542505930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2CB-4001-BD50-E96C1508BBF4}"/>
            </c:ext>
          </c:extLst>
        </c:ser>
        <c:ser>
          <c:idx val="2"/>
          <c:order val="2"/>
          <c:tx>
            <c:strRef>
              <c:f>NECP2019!$A$21</c:f>
              <c:strCache>
                <c:ptCount val="1"/>
                <c:pt idx="0">
                  <c:v>Природен газ</c:v>
                </c:pt>
              </c:strCache>
            </c:strRef>
          </c:tx>
          <c:spPr>
            <a:solidFill>
              <a:srgbClr val="A0DCFF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1:$K$21</c:f>
              <c:numCache>
                <c:formatCode>0</c:formatCode>
                <c:ptCount val="8"/>
                <c:pt idx="0">
                  <c:v>29910.00810219589</c:v>
                </c:pt>
                <c:pt idx="1">
                  <c:v>32692.249317251219</c:v>
                </c:pt>
                <c:pt idx="2">
                  <c:v>28350.919815658064</c:v>
                </c:pt>
                <c:pt idx="3">
                  <c:v>30254.838613463668</c:v>
                </c:pt>
                <c:pt idx="4">
                  <c:v>29179.50223703466</c:v>
                </c:pt>
                <c:pt idx="5">
                  <c:v>28646.93447658544</c:v>
                </c:pt>
                <c:pt idx="6">
                  <c:v>29726.542300231638</c:v>
                </c:pt>
                <c:pt idx="7">
                  <c:v>39869.4678808961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2CB-4001-BD50-E96C1508BBF4}"/>
            </c:ext>
          </c:extLst>
        </c:ser>
        <c:ser>
          <c:idx val="3"/>
          <c:order val="3"/>
          <c:tx>
            <c:strRef>
              <c:f>NECP2019!$A$22</c:f>
              <c:strCache>
                <c:ptCount val="1"/>
                <c:pt idx="0">
                  <c:v>Електрическа енергия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2:$K$22</c:f>
              <c:numCache>
                <c:formatCode>0</c:formatCode>
                <c:ptCount val="8"/>
                <c:pt idx="0">
                  <c:v>-10572.345805000456</c:v>
                </c:pt>
                <c:pt idx="1">
                  <c:v>-8007.1013363993625</c:v>
                </c:pt>
                <c:pt idx="2">
                  <c:v>-7999.9270044722434</c:v>
                </c:pt>
                <c:pt idx="3">
                  <c:v>-7999.6488753770664</c:v>
                </c:pt>
                <c:pt idx="4">
                  <c:v>-7983.6105663065819</c:v>
                </c:pt>
                <c:pt idx="5">
                  <c:v>-8010.4974956494234</c:v>
                </c:pt>
                <c:pt idx="6">
                  <c:v>-8006.4934593161142</c:v>
                </c:pt>
                <c:pt idx="7">
                  <c:v>-7999.91419951312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2CB-4001-BD50-E96C1508BBF4}"/>
            </c:ext>
          </c:extLst>
        </c:ser>
        <c:ser>
          <c:idx val="4"/>
          <c:order val="4"/>
          <c:tx>
            <c:strRef>
              <c:f>NECP2019!$A$23</c:f>
              <c:strCache>
                <c:ptCount val="1"/>
                <c:pt idx="0">
                  <c:v>Ядрено гориво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3:$K$23</c:f>
              <c:numCache>
                <c:formatCode>0</c:formatCode>
                <c:ptCount val="8"/>
                <c:pt idx="0">
                  <c:v>45485.939920221834</c:v>
                </c:pt>
                <c:pt idx="1">
                  <c:v>46731.031944937349</c:v>
                </c:pt>
                <c:pt idx="2">
                  <c:v>46730.696432968121</c:v>
                </c:pt>
                <c:pt idx="3">
                  <c:v>46730.730070786725</c:v>
                </c:pt>
                <c:pt idx="4">
                  <c:v>69196.443527147814</c:v>
                </c:pt>
                <c:pt idx="5">
                  <c:v>91661.992655280046</c:v>
                </c:pt>
                <c:pt idx="6">
                  <c:v>91662.051603163854</c:v>
                </c:pt>
                <c:pt idx="7">
                  <c:v>44931.7400368535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2CB-4001-BD50-E96C1508BBF4}"/>
            </c:ext>
          </c:extLst>
        </c:ser>
        <c:ser>
          <c:idx val="5"/>
          <c:order val="5"/>
          <c:tx>
            <c:strRef>
              <c:f>NECP2019!$A$24</c:f>
              <c:strCache>
                <c:ptCount val="1"/>
                <c:pt idx="0">
                  <c:v>Водна енергия</c:v>
                </c:pt>
              </c:strCache>
            </c:strRef>
          </c:tx>
          <c:spPr>
            <a:solidFill>
              <a:srgbClr val="00B0F0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4:$K$24</c:f>
              <c:numCache>
                <c:formatCode>0</c:formatCode>
                <c:ptCount val="8"/>
                <c:pt idx="0">
                  <c:v>5659.5232858085583</c:v>
                </c:pt>
                <c:pt idx="1">
                  <c:v>4707.2870833208381</c:v>
                </c:pt>
                <c:pt idx="2">
                  <c:v>4707.2870833208381</c:v>
                </c:pt>
                <c:pt idx="3">
                  <c:v>4707.2870833208353</c:v>
                </c:pt>
                <c:pt idx="4">
                  <c:v>4707.2870833208381</c:v>
                </c:pt>
                <c:pt idx="5">
                  <c:v>4708.8372711576976</c:v>
                </c:pt>
                <c:pt idx="6">
                  <c:v>4708.9181049106483</c:v>
                </c:pt>
                <c:pt idx="7">
                  <c:v>4712.96482674604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2CB-4001-BD50-E96C1508BBF4}"/>
            </c:ext>
          </c:extLst>
        </c:ser>
        <c:ser>
          <c:idx val="6"/>
          <c:order val="6"/>
          <c:tx>
            <c:strRef>
              <c:f>NECP2019!$A$25</c:f>
              <c:strCache>
                <c:ptCount val="1"/>
                <c:pt idx="0">
                  <c:v>Биомаса 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5:$K$25</c:f>
              <c:numCache>
                <c:formatCode>0</c:formatCode>
                <c:ptCount val="8"/>
                <c:pt idx="0">
                  <c:v>14369.148561955062</c:v>
                </c:pt>
                <c:pt idx="1">
                  <c:v>18367.024374983757</c:v>
                </c:pt>
                <c:pt idx="2">
                  <c:v>21535.951822990384</c:v>
                </c:pt>
                <c:pt idx="3">
                  <c:v>20966.921439177808</c:v>
                </c:pt>
                <c:pt idx="4">
                  <c:v>18576.623449627557</c:v>
                </c:pt>
                <c:pt idx="5">
                  <c:v>18832.16857098011</c:v>
                </c:pt>
                <c:pt idx="6">
                  <c:v>19363.820840881126</c:v>
                </c:pt>
                <c:pt idx="7">
                  <c:v>20061.9722399068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2CB-4001-BD50-E96C1508BBF4}"/>
            </c:ext>
          </c:extLst>
        </c:ser>
        <c:ser>
          <c:idx val="7"/>
          <c:order val="7"/>
          <c:tx>
            <c:strRef>
              <c:f>NECP2019!$A$26</c:f>
              <c:strCache>
                <c:ptCount val="1"/>
                <c:pt idx="0">
                  <c:v>Вятърна енергия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6:$K$26</c:f>
              <c:numCache>
                <c:formatCode>0</c:formatCode>
                <c:ptCount val="8"/>
                <c:pt idx="0">
                  <c:v>1450.9613733905576</c:v>
                </c:pt>
                <c:pt idx="1">
                  <c:v>1450.9613733905576</c:v>
                </c:pt>
                <c:pt idx="2">
                  <c:v>1564.262213156441</c:v>
                </c:pt>
                <c:pt idx="3">
                  <c:v>1901.4330736831232</c:v>
                </c:pt>
                <c:pt idx="4">
                  <c:v>3111.4175212324171</c:v>
                </c:pt>
                <c:pt idx="5">
                  <c:v>5993.9646960167229</c:v>
                </c:pt>
                <c:pt idx="6">
                  <c:v>6853.5342918033748</c:v>
                </c:pt>
                <c:pt idx="7">
                  <c:v>18165.6077939121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2CB-4001-BD50-E96C1508BBF4}"/>
            </c:ext>
          </c:extLst>
        </c:ser>
        <c:ser>
          <c:idx val="8"/>
          <c:order val="8"/>
          <c:tx>
            <c:strRef>
              <c:f>NECP2019!$A$27</c:f>
              <c:strCache>
                <c:ptCount val="1"/>
                <c:pt idx="0">
                  <c:v>Слънчева енергия и други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7:$K$27</c:f>
              <c:numCache>
                <c:formatCode>0</c:formatCode>
                <c:ptCount val="8"/>
                <c:pt idx="0">
                  <c:v>1635.3710000000001</c:v>
                </c:pt>
                <c:pt idx="1">
                  <c:v>1664.2060837740194</c:v>
                </c:pt>
                <c:pt idx="2">
                  <c:v>2168.8074788578256</c:v>
                </c:pt>
                <c:pt idx="3">
                  <c:v>4704.2478617507913</c:v>
                </c:pt>
                <c:pt idx="4">
                  <c:v>4670.9142469207054</c:v>
                </c:pt>
                <c:pt idx="5">
                  <c:v>4778.1050761516326</c:v>
                </c:pt>
                <c:pt idx="6">
                  <c:v>4879.0648817079273</c:v>
                </c:pt>
                <c:pt idx="7">
                  <c:v>4916.56515320604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2CB-4001-BD50-E96C1508BBF4}"/>
            </c:ext>
          </c:extLst>
        </c:ser>
        <c:ser>
          <c:idx val="9"/>
          <c:order val="9"/>
          <c:tx>
            <c:strRef>
              <c:f>NECP2019!$A$28</c:f>
              <c:strCache>
                <c:ptCount val="1"/>
                <c:pt idx="0">
                  <c:v>Геотермална енергия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  <a:effectLst/>
          </c:spPr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28:$K$28</c:f>
              <c:numCache>
                <c:formatCode>0</c:formatCode>
                <c:ptCount val="8"/>
                <c:pt idx="0">
                  <c:v>388.54666763749663</c:v>
                </c:pt>
                <c:pt idx="1">
                  <c:v>405.30078838665742</c:v>
                </c:pt>
                <c:pt idx="2">
                  <c:v>419.20477548449753</c:v>
                </c:pt>
                <c:pt idx="3">
                  <c:v>370.85038632439728</c:v>
                </c:pt>
                <c:pt idx="4">
                  <c:v>360.26926654118182</c:v>
                </c:pt>
                <c:pt idx="5">
                  <c:v>365.35163894819999</c:v>
                </c:pt>
                <c:pt idx="6">
                  <c:v>364.90570683933657</c:v>
                </c:pt>
                <c:pt idx="7">
                  <c:v>4161.89094207084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2CB-4001-BD50-E96C1508B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045696"/>
        <c:axId val="30047232"/>
      </c:areaChart>
      <c:catAx>
        <c:axId val="30045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30047232"/>
        <c:crosses val="autoZero"/>
        <c:auto val="1"/>
        <c:lblAlgn val="ctr"/>
        <c:lblOffset val="100"/>
        <c:noMultiLvlLbl val="0"/>
      </c:catAx>
      <c:valAx>
        <c:axId val="30047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Wh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30045696"/>
        <c:crosses val="autoZero"/>
        <c:crossBetween val="midCat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3041821093227281E-2"/>
          <c:y val="0.79600102710963505"/>
          <c:w val="0.93843391200159787"/>
          <c:h val="0.185075918202736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bg-BG"/>
        </a:p>
      </c:txPr>
    </c:legend>
    <c:plotVisOnly val="1"/>
    <c:dispBlanksAs val="zero"/>
    <c:showDLblsOverMax val="0"/>
  </c:chart>
  <c:spPr>
    <a:solidFill>
      <a:sysClr val="window" lastClr="FFFFFF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bg-BG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bg-BG" dirty="0" smtClean="0"/>
              <a:t>Структура на брутното </a:t>
            </a:r>
            <a:r>
              <a:rPr lang="bg-BG" dirty="0"/>
              <a:t>вътрешно потребление в </a:t>
            </a:r>
            <a:r>
              <a:rPr lang="en-US" dirty="0"/>
              <a:t>%</a:t>
            </a:r>
          </a:p>
        </c:rich>
      </c:tx>
      <c:layout>
        <c:manualLayout>
          <c:xMode val="edge"/>
          <c:yMode val="edge"/>
          <c:x val="0.10347950292333559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3.0601089065816874E-2"/>
          <c:y val="0.11307398803488211"/>
          <c:w val="0.93879782186836624"/>
          <c:h val="0.790544859823912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NECP2019!$A$32</c:f>
              <c:strCache>
                <c:ptCount val="1"/>
                <c:pt idx="0">
                  <c:v>Твърди горива</c:v>
                </c:pt>
              </c:strCache>
            </c:strRef>
          </c:tx>
          <c:spPr>
            <a:solidFill>
              <a:srgbClr val="ED8B00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2:$K$32</c:f>
              <c:numCache>
                <c:formatCode>0</c:formatCode>
                <c:ptCount val="8"/>
                <c:pt idx="0">
                  <c:v>35.707154305556536</c:v>
                </c:pt>
                <c:pt idx="1">
                  <c:v>33.239194275524554</c:v>
                </c:pt>
                <c:pt idx="2">
                  <c:v>33.192727189279481</c:v>
                </c:pt>
                <c:pt idx="3">
                  <c:v>26.862211074805121</c:v>
                </c:pt>
                <c:pt idx="4">
                  <c:v>17.560706708999181</c:v>
                </c:pt>
                <c:pt idx="5">
                  <c:v>3.0245137588494817</c:v>
                </c:pt>
                <c:pt idx="6">
                  <c:v>3.3317445467823408</c:v>
                </c:pt>
                <c:pt idx="7">
                  <c:v>2.799342795863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D38-40A7-A245-C79B5E7BE474}"/>
            </c:ext>
          </c:extLst>
        </c:ser>
        <c:ser>
          <c:idx val="1"/>
          <c:order val="1"/>
          <c:tx>
            <c:strRef>
              <c:f>NECP2019!$A$33</c:f>
              <c:strCache>
                <c:ptCount val="1"/>
                <c:pt idx="0">
                  <c:v>Нефт</c:v>
                </c:pt>
              </c:strCache>
            </c:strRef>
          </c:tx>
          <c:spPr>
            <a:solidFill>
              <a:schemeClr val="tx2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3:$K$33</c:f>
              <c:numCache>
                <c:formatCode>0</c:formatCode>
                <c:ptCount val="8"/>
                <c:pt idx="0">
                  <c:v>23.429494618770445</c:v>
                </c:pt>
                <c:pt idx="1">
                  <c:v>22.69786033776484</c:v>
                </c:pt>
                <c:pt idx="2">
                  <c:v>22.148242573069744</c:v>
                </c:pt>
                <c:pt idx="3">
                  <c:v>22.473480057687865</c:v>
                </c:pt>
                <c:pt idx="4">
                  <c:v>21.1501950595203</c:v>
                </c:pt>
                <c:pt idx="5">
                  <c:v>20.603402848408535</c:v>
                </c:pt>
                <c:pt idx="6">
                  <c:v>19.592667543997187</c:v>
                </c:pt>
                <c:pt idx="7">
                  <c:v>21.3206601665946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D38-40A7-A245-C79B5E7BE474}"/>
            </c:ext>
          </c:extLst>
        </c:ser>
        <c:ser>
          <c:idx val="2"/>
          <c:order val="2"/>
          <c:tx>
            <c:strRef>
              <c:f>NECP2019!$A$34</c:f>
              <c:strCache>
                <c:ptCount val="1"/>
                <c:pt idx="0">
                  <c:v>Газ</c:v>
                </c:pt>
              </c:strCache>
            </c:strRef>
          </c:tx>
          <c:spPr>
            <a:solidFill>
              <a:srgbClr val="A0DCFF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4:$K$34</c:f>
              <c:numCache>
                <c:formatCode>0</c:formatCode>
                <c:ptCount val="8"/>
                <c:pt idx="0">
                  <c:v>13.837456759039805</c:v>
                </c:pt>
                <c:pt idx="1">
                  <c:v>14.697507316304851</c:v>
                </c:pt>
                <c:pt idx="2">
                  <c:v>12.988930245310026</c:v>
                </c:pt>
                <c:pt idx="3">
                  <c:v>15.081570896568627</c:v>
                </c:pt>
                <c:pt idx="4">
                  <c:v>14.680695363942107</c:v>
                </c:pt>
                <c:pt idx="5">
                  <c:v>14.885514053668247</c:v>
                </c:pt>
                <c:pt idx="6">
                  <c:v>15.320326374548692</c:v>
                </c:pt>
                <c:pt idx="7">
                  <c:v>23.4846156216683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D38-40A7-A245-C79B5E7BE474}"/>
            </c:ext>
          </c:extLst>
        </c:ser>
        <c:ser>
          <c:idx val="3"/>
          <c:order val="3"/>
          <c:tx>
            <c:strRef>
              <c:f>NECP2019!$A$35</c:f>
              <c:strCache>
                <c:ptCount val="1"/>
                <c:pt idx="0">
                  <c:v>Електричество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5:$K$35</c:f>
              <c:numCache>
                <c:formatCode>0</c:formatCode>
                <c:ptCount val="8"/>
                <c:pt idx="0">
                  <c:v>-4.8911513971662632</c:v>
                </c:pt>
                <c:pt idx="1">
                  <c:v>-3.5997654775018382</c:v>
                </c:pt>
                <c:pt idx="2">
                  <c:v>-3.6651542350055508</c:v>
                </c:pt>
                <c:pt idx="3">
                  <c:v>-3.9877017095693787</c:v>
                </c:pt>
                <c:pt idx="4">
                  <c:v>-4.0166879364905537</c:v>
                </c:pt>
                <c:pt idx="5">
                  <c:v>-4.1624130199978246</c:v>
                </c:pt>
                <c:pt idx="6">
                  <c:v>-4.1263491620906221</c:v>
                </c:pt>
                <c:pt idx="7">
                  <c:v>-4.71225024981872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D38-40A7-A245-C79B5E7BE474}"/>
            </c:ext>
          </c:extLst>
        </c:ser>
        <c:ser>
          <c:idx val="4"/>
          <c:order val="4"/>
          <c:tx>
            <c:strRef>
              <c:f>NECP2019!$A$36</c:f>
              <c:strCache>
                <c:ptCount val="1"/>
                <c:pt idx="0">
                  <c:v>Ядрено гориво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6:$K$36</c:f>
              <c:numCache>
                <c:formatCode>0</c:formatCode>
                <c:ptCount val="8"/>
                <c:pt idx="0">
                  <c:v>21.043448889742795</c:v>
                </c:pt>
                <c:pt idx="1">
                  <c:v>21.008945491761022</c:v>
                </c:pt>
                <c:pt idx="2">
                  <c:v>21.409596592606782</c:v>
                </c:pt>
                <c:pt idx="3">
                  <c:v>23.294548935301592</c:v>
                </c:pt>
                <c:pt idx="4">
                  <c:v>34.813887483007171</c:v>
                </c:pt>
                <c:pt idx="5">
                  <c:v>47.629385300288519</c:v>
                </c:pt>
                <c:pt idx="6">
                  <c:v>47.240359559418103</c:v>
                </c:pt>
                <c:pt idx="7">
                  <c:v>26.4664842563360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D38-40A7-A245-C79B5E7BE474}"/>
            </c:ext>
          </c:extLst>
        </c:ser>
        <c:ser>
          <c:idx val="5"/>
          <c:order val="5"/>
          <c:tx>
            <c:strRef>
              <c:f>NECP2019!$A$37</c:f>
              <c:strCache>
                <c:ptCount val="1"/>
                <c:pt idx="0">
                  <c:v>Вода</c:v>
                </c:pt>
              </c:strCache>
            </c:strRef>
          </c:tx>
          <c:spPr>
            <a:solidFill>
              <a:srgbClr val="00B0F0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7:$K$37</c:f>
              <c:numCache>
                <c:formatCode>0</c:formatCode>
                <c:ptCount val="8"/>
                <c:pt idx="0">
                  <c:v>2.6183011544689383</c:v>
                </c:pt>
                <c:pt idx="1">
                  <c:v>2.116262655275519</c:v>
                </c:pt>
                <c:pt idx="2">
                  <c:v>2.156636326703393</c:v>
                </c:pt>
                <c:pt idx="3">
                  <c:v>2.3465100833825732</c:v>
                </c:pt>
                <c:pt idx="4">
                  <c:v>2.3683148224901194</c:v>
                </c:pt>
                <c:pt idx="5">
                  <c:v>2.4468050301698288</c:v>
                </c:pt>
                <c:pt idx="6">
                  <c:v>2.4268601948263013</c:v>
                </c:pt>
                <c:pt idx="7">
                  <c:v>2.77611348426368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D38-40A7-A245-C79B5E7BE474}"/>
            </c:ext>
          </c:extLst>
        </c:ser>
        <c:ser>
          <c:idx val="6"/>
          <c:order val="6"/>
          <c:tx>
            <c:strRef>
              <c:f>NECP2019!$A$38</c:f>
              <c:strCache>
                <c:ptCount val="1"/>
                <c:pt idx="0">
                  <c:v>Биомаса &amp; отпадъци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8:$K$38</c:f>
              <c:numCache>
                <c:formatCode>0</c:formatCode>
                <c:ptCount val="8"/>
                <c:pt idx="0">
                  <c:v>6.6476903386620805</c:v>
                </c:pt>
                <c:pt idx="1">
                  <c:v>8.2572928069413969</c:v>
                </c:pt>
                <c:pt idx="2">
                  <c:v>9.8666631563991274</c:v>
                </c:pt>
                <c:pt idx="3">
                  <c:v>10.451687289021823</c:v>
                </c:pt>
                <c:pt idx="4">
                  <c:v>9.346209799580194</c:v>
                </c:pt>
                <c:pt idx="5">
                  <c:v>9.7855674628466325</c:v>
                </c:pt>
                <c:pt idx="6">
                  <c:v>9.9796354431129064</c:v>
                </c:pt>
                <c:pt idx="7">
                  <c:v>11.817255953208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D38-40A7-A245-C79B5E7BE474}"/>
            </c:ext>
          </c:extLst>
        </c:ser>
        <c:ser>
          <c:idx val="7"/>
          <c:order val="7"/>
          <c:tx>
            <c:strRef>
              <c:f>NECP2019!$A$39</c:f>
              <c:strCache>
                <c:ptCount val="1"/>
                <c:pt idx="0">
                  <c:v>Вятър</c:v>
                </c:pt>
              </c:strCache>
            </c:strRef>
          </c:tx>
          <c:spPr>
            <a:solidFill>
              <a:schemeClr val="accent5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39:$K$39</c:f>
              <c:numCache>
                <c:formatCode>0</c:formatCode>
                <c:ptCount val="8"/>
                <c:pt idx="0">
                  <c:v>0.67126746320923991</c:v>
                </c:pt>
                <c:pt idx="1">
                  <c:v>0.65231104761672953</c:v>
                </c:pt>
                <c:pt idx="2">
                  <c:v>0.71666432356250109</c:v>
                </c:pt>
                <c:pt idx="3">
                  <c:v>0.94783509084960338</c:v>
                </c:pt>
                <c:pt idx="4">
                  <c:v>1.565406167939037</c:v>
                </c:pt>
                <c:pt idx="5">
                  <c:v>3.1145826717575953</c:v>
                </c:pt>
                <c:pt idx="6">
                  <c:v>3.5321424573745652</c:v>
                </c:pt>
                <c:pt idx="7">
                  <c:v>10.7002259936964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4D38-40A7-A245-C79B5E7BE474}"/>
            </c:ext>
          </c:extLst>
        </c:ser>
        <c:ser>
          <c:idx val="8"/>
          <c:order val="8"/>
          <c:tx>
            <c:strRef>
              <c:f>NECP2019!$A$40</c:f>
              <c:strCache>
                <c:ptCount val="1"/>
                <c:pt idx="0">
                  <c:v>Слънце и други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40:$K$40</c:f>
              <c:numCache>
                <c:formatCode>0</c:formatCode>
                <c:ptCount val="8"/>
                <c:pt idx="0">
                  <c:v>0.75658205842566506</c:v>
                </c:pt>
                <c:pt idx="1">
                  <c:v>0.74817981640684106</c:v>
                </c:pt>
                <c:pt idx="2">
                  <c:v>0.99363580587719003</c:v>
                </c:pt>
                <c:pt idx="3">
                  <c:v>2.3449950782567948</c:v>
                </c:pt>
                <c:pt idx="4">
                  <c:v>2.3500150404590499</c:v>
                </c:pt>
                <c:pt idx="5">
                  <c:v>2.4827979523984438</c:v>
                </c:pt>
                <c:pt idx="6">
                  <c:v>2.5145496450753297</c:v>
                </c:pt>
                <c:pt idx="7">
                  <c:v>2.89604173165447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D38-40A7-A245-C79B5E7BE474}"/>
            </c:ext>
          </c:extLst>
        </c:ser>
        <c:ser>
          <c:idx val="9"/>
          <c:order val="9"/>
          <c:tx>
            <c:strRef>
              <c:f>NECP2019!$A$41</c:f>
              <c:strCache>
                <c:ptCount val="1"/>
                <c:pt idx="0">
                  <c:v>Геотермална енергия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NECP2019!$D$17:$K$17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NECP2019!$D$41:$K$41</c:f>
              <c:numCache>
                <c:formatCode>0</c:formatCode>
                <c:ptCount val="8"/>
                <c:pt idx="0">
                  <c:v>0.17975580929074192</c:v>
                </c:pt>
                <c:pt idx="1">
                  <c:v>0.18221172990607432</c:v>
                </c:pt>
                <c:pt idx="2">
                  <c:v>0.19205802219728094</c:v>
                </c:pt>
                <c:pt idx="3">
                  <c:v>0.18486320369536943</c:v>
                </c:pt>
                <c:pt idx="4">
                  <c:v>0.18125749055339066</c:v>
                </c:pt>
                <c:pt idx="5">
                  <c:v>0.18984394161055071</c:v>
                </c:pt>
                <c:pt idx="6">
                  <c:v>0.1880633969552005</c:v>
                </c:pt>
                <c:pt idx="7">
                  <c:v>2.45151024653304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D38-40A7-A245-C79B5E7BE47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74008832"/>
        <c:axId val="74027008"/>
      </c:barChart>
      <c:catAx>
        <c:axId val="74008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bg-BG"/>
          </a:p>
        </c:txPr>
        <c:crossAx val="74027008"/>
        <c:crosses val="autoZero"/>
        <c:auto val="1"/>
        <c:lblAlgn val="ctr"/>
        <c:lblOffset val="100"/>
        <c:noMultiLvlLbl val="0"/>
      </c:catAx>
      <c:valAx>
        <c:axId val="74027008"/>
        <c:scaling>
          <c:orientation val="minMax"/>
          <c:max val="100"/>
        </c:scaling>
        <c:delete val="1"/>
        <c:axPos val="l"/>
        <c:numFmt formatCode="0" sourceLinked="1"/>
        <c:majorTickMark val="out"/>
        <c:minorTickMark val="none"/>
        <c:tickLblPos val="nextTo"/>
        <c:crossAx val="74008832"/>
        <c:crosses val="autoZero"/>
        <c:crossBetween val="between"/>
      </c:valAx>
    </c:plotArea>
    <c:plotVisOnly val="1"/>
    <c:dispBlanksAs val="zero"/>
    <c:showDLblsOverMax val="0"/>
  </c:chart>
  <c:spPr>
    <a:solidFill>
      <a:sysClr val="window" lastClr="FFFFFF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bg-BG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bg-BG" dirty="0"/>
              <a:t>Нетно производство на </a:t>
            </a:r>
            <a:r>
              <a:rPr lang="bg-BG" dirty="0" smtClean="0"/>
              <a:t>електроенергия </a:t>
            </a:r>
            <a:r>
              <a:rPr lang="bg-BG" dirty="0"/>
              <a:t>по тип централа 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'WEM2019'!$A$692</c:f>
              <c:strCache>
                <c:ptCount val="1"/>
                <c:pt idx="0">
                  <c:v>АЕЦ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692:$K$692</c:f>
              <c:numCache>
                <c:formatCode>0</c:formatCode>
                <c:ptCount val="8"/>
                <c:pt idx="0">
                  <c:v>14528.017999999996</c:v>
                </c:pt>
                <c:pt idx="1">
                  <c:v>14925.628234219475</c:v>
                </c:pt>
                <c:pt idx="2">
                  <c:v>14925.628234219485</c:v>
                </c:pt>
                <c:pt idx="3">
                  <c:v>14925.628234219472</c:v>
                </c:pt>
                <c:pt idx="4">
                  <c:v>22675.628234219468</c:v>
                </c:pt>
                <c:pt idx="5">
                  <c:v>30425.628234219424</c:v>
                </c:pt>
                <c:pt idx="6">
                  <c:v>30425.628234219468</c:v>
                </c:pt>
                <c:pt idx="7">
                  <c:v>155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03D-41AD-A0A7-A307BE7BFF63}"/>
            </c:ext>
          </c:extLst>
        </c:ser>
        <c:ser>
          <c:idx val="1"/>
          <c:order val="1"/>
          <c:tx>
            <c:strRef>
              <c:f>'WEM2019'!$A$693</c:f>
              <c:strCache>
                <c:ptCount val="1"/>
                <c:pt idx="0">
                  <c:v>ВЕЦ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693:$K$693</c:f>
              <c:numCache>
                <c:formatCode>0</c:formatCode>
                <c:ptCount val="8"/>
                <c:pt idx="0">
                  <c:v>5540.0874642564359</c:v>
                </c:pt>
                <c:pt idx="1">
                  <c:v>4619.4975000000013</c:v>
                </c:pt>
                <c:pt idx="2">
                  <c:v>4619.497499999994</c:v>
                </c:pt>
                <c:pt idx="3">
                  <c:v>4619.4975000000013</c:v>
                </c:pt>
                <c:pt idx="4">
                  <c:v>4619.4975000000049</c:v>
                </c:pt>
                <c:pt idx="5">
                  <c:v>4619.4975000000104</c:v>
                </c:pt>
                <c:pt idx="6">
                  <c:v>4619.4975000000013</c:v>
                </c:pt>
                <c:pt idx="7">
                  <c:v>4619.4975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03D-41AD-A0A7-A307BE7BFF63}"/>
            </c:ext>
          </c:extLst>
        </c:ser>
        <c:ser>
          <c:idx val="2"/>
          <c:order val="2"/>
          <c:tx>
            <c:strRef>
              <c:f>'WEM2019'!$A$694</c:f>
              <c:strCache>
                <c:ptCount val="1"/>
                <c:pt idx="0">
                  <c:v>ВтЕЦ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694:$K$694</c:f>
              <c:numCache>
                <c:formatCode>0</c:formatCode>
                <c:ptCount val="8"/>
                <c:pt idx="0">
                  <c:v>1450.9613733905576</c:v>
                </c:pt>
                <c:pt idx="1">
                  <c:v>1450.9613733905576</c:v>
                </c:pt>
                <c:pt idx="2">
                  <c:v>1564.262213156441</c:v>
                </c:pt>
                <c:pt idx="3">
                  <c:v>1901.4330736831232</c:v>
                </c:pt>
                <c:pt idx="4">
                  <c:v>1901.4330736831232</c:v>
                </c:pt>
                <c:pt idx="5">
                  <c:v>3607.6761157743676</c:v>
                </c:pt>
                <c:pt idx="6">
                  <c:v>6190.7230011245774</c:v>
                </c:pt>
                <c:pt idx="7">
                  <c:v>88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03D-41AD-A0A7-A307BE7BFF63}"/>
            </c:ext>
          </c:extLst>
        </c:ser>
        <c:ser>
          <c:idx val="3"/>
          <c:order val="3"/>
          <c:tx>
            <c:strRef>
              <c:f>'WEM2019'!$A$695</c:f>
              <c:strCache>
                <c:ptCount val="1"/>
                <c:pt idx="0">
                  <c:v>ФЕЦ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695:$K$695</c:f>
              <c:numCache>
                <c:formatCode>0</c:formatCode>
                <c:ptCount val="8"/>
                <c:pt idx="0">
                  <c:v>1383</c:v>
                </c:pt>
                <c:pt idx="1">
                  <c:v>1402.1734517247287</c:v>
                </c:pt>
                <c:pt idx="2">
                  <c:v>2652.819055442822</c:v>
                </c:pt>
                <c:pt idx="3">
                  <c:v>4840.7616678219601</c:v>
                </c:pt>
                <c:pt idx="4">
                  <c:v>4840.7616678219601</c:v>
                </c:pt>
                <c:pt idx="5">
                  <c:v>4840.7616678219601</c:v>
                </c:pt>
                <c:pt idx="6">
                  <c:v>4840.7616678219601</c:v>
                </c:pt>
                <c:pt idx="7">
                  <c:v>99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03D-41AD-A0A7-A307BE7BFF63}"/>
            </c:ext>
          </c:extLst>
        </c:ser>
        <c:ser>
          <c:idx val="6"/>
          <c:order val="4"/>
          <c:tx>
            <c:strRef>
              <c:f>'WEM2019'!$A$696</c:f>
              <c:strCache>
                <c:ptCount val="1"/>
                <c:pt idx="0">
                  <c:v>ТЕЦ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696:$K$696</c:f>
              <c:numCache>
                <c:formatCode>0</c:formatCode>
                <c:ptCount val="8"/>
                <c:pt idx="0">
                  <c:v>19358.171296013294</c:v>
                </c:pt>
                <c:pt idx="1">
                  <c:v>19426.041166033134</c:v>
                </c:pt>
                <c:pt idx="2">
                  <c:v>18578.711186499044</c:v>
                </c:pt>
                <c:pt idx="3">
                  <c:v>14528.412019476466</c:v>
                </c:pt>
                <c:pt idx="4">
                  <c:v>7512.4583186589753</c:v>
                </c:pt>
                <c:pt idx="5">
                  <c:v>1172.4751179249847</c:v>
                </c:pt>
                <c:pt idx="6">
                  <c:v>732.37199928579435</c:v>
                </c:pt>
                <c:pt idx="7">
                  <c:v>391.075464796981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03D-41AD-A0A7-A307BE7BFF63}"/>
            </c:ext>
          </c:extLst>
        </c:ser>
        <c:ser>
          <c:idx val="11"/>
          <c:order val="5"/>
          <c:tx>
            <c:strRef>
              <c:f>'WEM2019'!$A$700</c:f>
              <c:strCache>
                <c:ptCount val="1"/>
                <c:pt idx="0">
                  <c:v>ТФЕЦ+ЗТЕЦ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  <a:effectLst/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0:$K$700</c:f>
              <c:numCache>
                <c:formatCode>0</c:formatCode>
                <c:ptCount val="8"/>
                <c:pt idx="0">
                  <c:v>1718.9648676038021</c:v>
                </c:pt>
                <c:pt idx="1">
                  <c:v>1864.5587666833435</c:v>
                </c:pt>
                <c:pt idx="2">
                  <c:v>2294.7355419197074</c:v>
                </c:pt>
                <c:pt idx="3">
                  <c:v>5539.0983617982856</c:v>
                </c:pt>
                <c:pt idx="4">
                  <c:v>6986.4996875475399</c:v>
                </c:pt>
                <c:pt idx="5">
                  <c:v>4896.656232886563</c:v>
                </c:pt>
                <c:pt idx="6">
                  <c:v>3879.1203356514011</c:v>
                </c:pt>
                <c:pt idx="7">
                  <c:v>115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03D-41AD-A0A7-A307BE7BFF63}"/>
            </c:ext>
          </c:extLst>
        </c:ser>
        <c:ser>
          <c:idx val="8"/>
          <c:order val="6"/>
          <c:tx>
            <c:strRef>
              <c:f>'WEM2019'!$A$701</c:f>
              <c:strCache>
                <c:ptCount val="1"/>
                <c:pt idx="0">
                  <c:v>ЕЦ на биомаса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25400">
              <a:noFill/>
            </a:ln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1:$K$701</c:f>
              <c:numCache>
                <c:formatCode>0</c:formatCode>
                <c:ptCount val="8"/>
                <c:pt idx="0">
                  <c:v>246.94352878413818</c:v>
                </c:pt>
                <c:pt idx="1">
                  <c:v>259.97660375998623</c:v>
                </c:pt>
                <c:pt idx="2">
                  <c:v>1345.3712793138275</c:v>
                </c:pt>
                <c:pt idx="3">
                  <c:v>1377.0922984717213</c:v>
                </c:pt>
                <c:pt idx="4">
                  <c:v>1385.4887616296164</c:v>
                </c:pt>
                <c:pt idx="5">
                  <c:v>1394.7314664862884</c:v>
                </c:pt>
                <c:pt idx="6">
                  <c:v>1558.9303329317463</c:v>
                </c:pt>
                <c:pt idx="7">
                  <c:v>1282.12558552550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03D-41AD-A0A7-A307BE7BFF63}"/>
            </c:ext>
          </c:extLst>
        </c:ser>
        <c:ser>
          <c:idx val="9"/>
          <c:order val="7"/>
          <c:tx>
            <c:strRef>
              <c:f>'WEM2019'!$A$702</c:f>
              <c:strCache>
                <c:ptCount val="1"/>
                <c:pt idx="0">
                  <c:v>ГЕЦ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</c:spPr>
          <c:cat>
            <c:numRef>
              <c:f>'WEM2019'!$D$691:$K$691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2:$K$702</c:f>
              <c:numCache>
                <c:formatCode>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78.429245768473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03D-41AD-A0A7-A307BE7BFF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282496"/>
        <c:axId val="74284032"/>
        <c:extLst xmlns:c16r2="http://schemas.microsoft.com/office/drawing/2015/06/chart">
          <c:ext xmlns:c15="http://schemas.microsoft.com/office/drawing/2012/chart" uri="{02D57815-91ED-43cb-92C2-25804820EDAC}">
            <c15:filteredAreaSeries>
              <c15:ser>
                <c:idx val="7"/>
                <c:order val="5"/>
                <c:tx>
                  <c:strRef>
                    <c:extLst>
                      <c:ext uri="{02D57815-91ED-43cb-92C2-25804820EDAC}">
                        <c15:formulaRef>
                          <c15:sqref>'WEM2019'!$A$697</c15:sqref>
                        </c15:formulaRef>
                      </c:ext>
                    </c:extLst>
                    <c:strCache>
                      <c:ptCount val="1"/>
                      <c:pt idx="0">
                        <c:v>Въглища</c:v>
                      </c:pt>
                    </c:strCache>
                  </c:strRef>
                </c:tx>
                <c:spPr>
                  <a:solidFill>
                    <a:srgbClr val="FF0000"/>
                  </a:solidFill>
                  <a:ln w="25400">
                    <a:noFill/>
                  </a:ln>
                  <a:effectLst/>
                </c:spPr>
                <c:cat>
                  <c:numRef>
                    <c:extLst>
                      <c:ext uri="{02D57815-91ED-43cb-92C2-25804820EDAC}">
                        <c15:formulaRef>
                          <c15:sqref>'WEM2019'!$D$691:$K$69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WEM2019'!$D$697:$K$697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329.18500499999993</c:v>
                      </c:pt>
                      <c:pt idx="1">
                        <c:v>402.14475119072711</c:v>
                      </c:pt>
                      <c:pt idx="2">
                        <c:v>194.9824116551795</c:v>
                      </c:pt>
                      <c:pt idx="3">
                        <c:v>106.17606509773789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503D-41AD-A0A7-A307BE7BFF63}"/>
                  </c:ext>
                </c:extLst>
              </c15:ser>
            </c15:filteredAreaSeries>
            <c15:filteredAreaSeries>
              <c15:ser>
                <c:idx val="10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A$698</c15:sqref>
                        </c15:formulaRef>
                      </c:ext>
                    </c:extLst>
                    <c:strCache>
                      <c:ptCount val="1"/>
                      <c:pt idx="0">
                        <c:v>Лигнит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 w="25400">
                    <a:noFill/>
                  </a:ln>
                  <a:effectLst/>
                </c:spP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691:$K$69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698:$K$698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8709.610168013296</c:v>
                      </c:pt>
                      <c:pt idx="1">
                        <c:v>18734.129383439678</c:v>
                      </c:pt>
                      <c:pt idx="2">
                        <c:v>18071.321088928937</c:v>
                      </c:pt>
                      <c:pt idx="3">
                        <c:v>14187.939816378728</c:v>
                      </c:pt>
                      <c:pt idx="4">
                        <c:v>7278.1621806589756</c:v>
                      </c:pt>
                      <c:pt idx="5">
                        <c:v>938.17897992498456</c:v>
                      </c:pt>
                      <c:pt idx="6">
                        <c:v>498.07586128579425</c:v>
                      </c:pt>
                      <c:pt idx="7">
                        <c:v>156.7793267969813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503D-41AD-A0A7-A307BE7BFF63}"/>
                  </c:ext>
                </c:extLst>
              </c15:ser>
            </c15:filteredAreaSeries>
          </c:ext>
        </c:extLst>
      </c:areaChart>
      <c:catAx>
        <c:axId val="74282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bg-BG"/>
          </a:p>
        </c:txPr>
        <c:crossAx val="74284032"/>
        <c:crosses val="autoZero"/>
        <c:auto val="1"/>
        <c:lblAlgn val="ctr"/>
        <c:lblOffset val="100"/>
        <c:noMultiLvlLbl val="0"/>
      </c:catAx>
      <c:valAx>
        <c:axId val="74284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Wh</a:t>
                </a:r>
              </a:p>
            </c:rich>
          </c:tx>
          <c:layout/>
          <c:overlay val="0"/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bg-BG"/>
          </a:p>
        </c:txPr>
        <c:crossAx val="74282496"/>
        <c:crosses val="autoZero"/>
        <c:crossBetween val="midCat"/>
        <c:dispUnits>
          <c:builtInUnit val="thousands"/>
        </c:dispUnits>
      </c:valAx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bg-BG"/>
        </a:p>
      </c:txPr>
    </c:legend>
    <c:plotVisOnly val="1"/>
    <c:dispBlanksAs val="zero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bg-BG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/>
              <a:t>Дялове</a:t>
            </a:r>
            <a:r>
              <a:rPr lang="en-US"/>
              <a:t> (%)</a:t>
            </a:r>
          </a:p>
        </c:rich>
      </c:tx>
      <c:layout>
        <c:manualLayout>
          <c:xMode val="edge"/>
          <c:yMode val="edge"/>
          <c:x val="0.34851028494431918"/>
          <c:y val="2.9021558872305141E-2"/>
        </c:manualLayout>
      </c:layout>
      <c:overlay val="0"/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WEM2019'!$A$707</c:f>
              <c:strCache>
                <c:ptCount val="1"/>
                <c:pt idx="0">
                  <c:v>Ядрена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7:$K$707</c:f>
              <c:numCache>
                <c:formatCode>0</c:formatCode>
                <c:ptCount val="8"/>
                <c:pt idx="0">
                  <c:v>32.849386934783787</c:v>
                </c:pt>
                <c:pt idx="1">
                  <c:v>33.961372406010803</c:v>
                </c:pt>
                <c:pt idx="2">
                  <c:v>32.460407811253624</c:v>
                </c:pt>
                <c:pt idx="3">
                  <c:v>31.2696980291453</c:v>
                </c:pt>
                <c:pt idx="4">
                  <c:v>45.422326744941813</c:v>
                </c:pt>
                <c:pt idx="5">
                  <c:v>59.707937434143567</c:v>
                </c:pt>
                <c:pt idx="6">
                  <c:v>58.234174164211105</c:v>
                </c:pt>
                <c:pt idx="7">
                  <c:v>29.5282371867468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17-4AB3-AFEC-198BDA75E068}"/>
            </c:ext>
          </c:extLst>
        </c:ser>
        <c:ser>
          <c:idx val="1"/>
          <c:order val="1"/>
          <c:tx>
            <c:strRef>
              <c:f>'WEM2019'!$A$708</c:f>
              <c:strCache>
                <c:ptCount val="1"/>
                <c:pt idx="0">
                  <c:v>ВЕЦ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8:$K$708</c:f>
              <c:numCache>
                <c:formatCode>0</c:formatCode>
                <c:ptCount val="8"/>
                <c:pt idx="0">
                  <c:v>12.52672434504864</c:v>
                </c:pt>
                <c:pt idx="1">
                  <c:v>10.511080167898882</c:v>
                </c:pt>
                <c:pt idx="2">
                  <c:v>10.046530060910893</c:v>
                </c:pt>
                <c:pt idx="3">
                  <c:v>9.6780041419104545</c:v>
                </c:pt>
                <c:pt idx="4">
                  <c:v>9.2534734947626784</c:v>
                </c:pt>
                <c:pt idx="5">
                  <c:v>9.0654058343147135</c:v>
                </c:pt>
                <c:pt idx="6">
                  <c:v>8.8416455987449911</c:v>
                </c:pt>
                <c:pt idx="7">
                  <c:v>8.80036244281187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717-4AB3-AFEC-198BDA75E068}"/>
            </c:ext>
          </c:extLst>
        </c:ser>
        <c:ser>
          <c:idx val="2"/>
          <c:order val="2"/>
          <c:tx>
            <c:strRef>
              <c:f>'WEM2019'!$A$709</c:f>
              <c:strCache>
                <c:ptCount val="1"/>
                <c:pt idx="0">
                  <c:v>Вятърни генератори на сушата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09:$K$709</c:f>
              <c:numCache>
                <c:formatCode>0</c:formatCode>
                <c:ptCount val="8"/>
                <c:pt idx="0">
                  <c:v>3.2807772940487636</c:v>
                </c:pt>
                <c:pt idx="1">
                  <c:v>3.3014784218917339</c:v>
                </c:pt>
                <c:pt idx="2">
                  <c:v>3.4019733418241285</c:v>
                </c:pt>
                <c:pt idx="3">
                  <c:v>3.9835668625582734</c:v>
                </c:pt>
                <c:pt idx="4">
                  <c:v>3.8088256459478309</c:v>
                </c:pt>
                <c:pt idx="5">
                  <c:v>7.0797847835741265</c:v>
                </c:pt>
                <c:pt idx="6">
                  <c:v>11.848946508996375</c:v>
                </c:pt>
                <c:pt idx="7">
                  <c:v>16.808234625720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717-4AB3-AFEC-198BDA75E068}"/>
            </c:ext>
          </c:extLst>
        </c:ser>
        <c:ser>
          <c:idx val="3"/>
          <c:order val="3"/>
          <c:tx>
            <c:strRef>
              <c:f>'WEM2019'!$A$710</c:f>
              <c:strCache>
                <c:ptCount val="1"/>
                <c:pt idx="0">
                  <c:v>Слънчеви ФВт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10:$K$710</c:f>
              <c:numCache>
                <c:formatCode>0</c:formatCode>
                <c:ptCount val="8"/>
                <c:pt idx="0">
                  <c:v>3.1271094330146054</c:v>
                </c:pt>
                <c:pt idx="1">
                  <c:v>3.190467699220124</c:v>
                </c:pt>
                <c:pt idx="2">
                  <c:v>5.769377813639597</c:v>
                </c:pt>
                <c:pt idx="3">
                  <c:v>10.141560087689685</c:v>
                </c:pt>
                <c:pt idx="4">
                  <c:v>9.6966953197081782</c:v>
                </c:pt>
                <c:pt idx="5">
                  <c:v>9.4996196157699213</c:v>
                </c:pt>
                <c:pt idx="6">
                  <c:v>9.2651417377910654</c:v>
                </c:pt>
                <c:pt idx="7">
                  <c:v>18.9247424653640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717-4AB3-AFEC-198BDA75E068}"/>
            </c:ext>
          </c:extLst>
        </c:ser>
        <c:ser>
          <c:idx val="4"/>
          <c:order val="4"/>
          <c:tx>
            <c:strRef>
              <c:f>'WEM2019'!$A$711</c:f>
              <c:strCache>
                <c:ptCount val="1"/>
                <c:pt idx="0">
                  <c:v>На твърдо гориво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717-4AB3-AFEC-198BDA75E068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717-4AB3-AFEC-198BDA75E068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717-4AB3-AFEC-198BDA75E068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17-4AB3-AFEC-198BDA75E0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11:$K$711</c:f>
              <c:numCache>
                <c:formatCode>0</c:formatCode>
                <c:ptCount val="8"/>
                <c:pt idx="0">
                  <c:v>43.77087495710466</c:v>
                </c:pt>
                <c:pt idx="1">
                  <c:v>44.201490755450806</c:v>
                </c:pt>
                <c:pt idx="2">
                  <c:v>40.405169702580068</c:v>
                </c:pt>
                <c:pt idx="3">
                  <c:v>30.437516569686384</c:v>
                </c:pt>
                <c:pt idx="4">
                  <c:v>15.048462291021943</c:v>
                </c:pt>
                <c:pt idx="5">
                  <c:v>2.3008915525175548</c:v>
                </c:pt>
                <c:pt idx="6">
                  <c:v>1.4017484941012115</c:v>
                </c:pt>
                <c:pt idx="7">
                  <c:v>0.745017360157582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717-4AB3-AFEC-198BDA75E068}"/>
            </c:ext>
          </c:extLst>
        </c:ser>
        <c:ser>
          <c:idx val="5"/>
          <c:order val="5"/>
          <c:tx>
            <c:strRef>
              <c:f>'WEM2019'!$A$712</c:f>
              <c:strCache>
                <c:ptCount val="1"/>
                <c:pt idx="0">
                  <c:v>На га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12:$K$712</c:f>
              <c:numCache>
                <c:formatCode>0</c:formatCode>
                <c:ptCount val="8"/>
                <c:pt idx="0">
                  <c:v>3.8867615708637402</c:v>
                </c:pt>
                <c:pt idx="1">
                  <c:v>4.2425667887832574</c:v>
                </c:pt>
                <c:pt idx="2">
                  <c:v>4.9906141531058337</c:v>
                </c:pt>
                <c:pt idx="3">
                  <c:v>11.604599177277009</c:v>
                </c:pt>
                <c:pt idx="4">
                  <c:v>13.994896561777297</c:v>
                </c:pt>
                <c:pt idx="5">
                  <c:v>9.6093083679000255</c:v>
                </c:pt>
                <c:pt idx="6">
                  <c:v>7.4245753445508713</c:v>
                </c:pt>
                <c:pt idx="7">
                  <c:v>22.0299699888735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717-4AB3-AFEC-198BDA75E068}"/>
            </c:ext>
          </c:extLst>
        </c:ser>
        <c:ser>
          <c:idx val="7"/>
          <c:order val="6"/>
          <c:tx>
            <c:strRef>
              <c:f>'WEM2019'!$A$714</c:f>
              <c:strCache>
                <c:ptCount val="1"/>
                <c:pt idx="0">
                  <c:v>Геотермални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WEM2019'!$D$706:$K$706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14:$K$714</c:f>
              <c:numCache>
                <c:formatCode>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72092571144859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717-4AB3-AFEC-198BDA75E06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74747264"/>
        <c:axId val="74650752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6"/>
                <c:order val="6"/>
                <c:tx>
                  <c:strRef>
                    <c:extLst>
                      <c:ext uri="{02D57815-91ED-43cb-92C2-25804820EDAC}">
                        <c15:formulaRef>
                          <c15:sqref>'WEM2019'!$A$713</c15:sqref>
                        </c15:formulaRef>
                      </c:ext>
                    </c:extLst>
                    <c:strCache>
                      <c:ptCount val="1"/>
                      <c:pt idx="0">
                        <c:v>Биомаса</c:v>
                      </c:pt>
                    </c:strCache>
                  </c:strRef>
                </c:tx>
                <c:spPr>
                  <a:solidFill>
                    <a:srgbClr val="FF0000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vert="horz"/>
                    <a:lstStyle/>
                    <a:p>
                      <a:pPr>
                        <a:defRPr/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'WEM2019'!$D$706:$K$7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WEM2019'!$D$713:$K$713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0.55836546513578622</c:v>
                      </c:pt>
                      <c:pt idx="1">
                        <c:v>0.59154376074438753</c:v>
                      </c:pt>
                      <c:pt idx="2">
                        <c:v>2.925927116685858</c:v>
                      </c:pt>
                      <c:pt idx="3">
                        <c:v>2.8850551317329001</c:v>
                      </c:pt>
                      <c:pt idx="4">
                        <c:v>2.7753199418402557</c:v>
                      </c:pt>
                      <c:pt idx="5">
                        <c:v>2.7370524117800876</c:v>
                      </c:pt>
                      <c:pt idx="6">
                        <c:v>2.9837681516043753</c:v>
                      </c:pt>
                      <c:pt idx="7">
                        <c:v>2.442510218877010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B-C717-4AB3-AFEC-198BDA75E068}"/>
                  </c:ext>
                </c:extLst>
              </c15:ser>
            </c15:filteredBarSeries>
          </c:ext>
        </c:extLst>
      </c:barChart>
      <c:catAx>
        <c:axId val="747472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bg-BG"/>
          </a:p>
        </c:txPr>
        <c:crossAx val="74650752"/>
        <c:crosses val="autoZero"/>
        <c:auto val="1"/>
        <c:lblAlgn val="ctr"/>
        <c:lblOffset val="100"/>
        <c:noMultiLvlLbl val="0"/>
      </c:catAx>
      <c:valAx>
        <c:axId val="746507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4747264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1200" b="1">
          <a:solidFill>
            <a:sysClr val="windowText" lastClr="000000"/>
          </a:solidFill>
        </a:defRPr>
      </a:pPr>
      <a:endParaRPr lang="bg-BG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bg-BG"/>
              <a:t>Нетна инсталирана мощност по вид</a:t>
            </a:r>
            <a:r>
              <a:rPr lang="bg-BG" baseline="0"/>
              <a:t> центала 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'WEM2019'!$A$750</c:f>
              <c:strCache>
                <c:ptCount val="1"/>
                <c:pt idx="0">
                  <c:v>Ядрена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0:$K$750</c:f>
              <c:numCache>
                <c:formatCode>_(* #\ ##0.00_);_(* \(#\ ##0.00\);_(* "-"??_);_(@_)</c:formatCode>
                <c:ptCount val="8"/>
                <c:pt idx="0">
                  <c:v>1.8893200296480346</c:v>
                </c:pt>
                <c:pt idx="1">
                  <c:v>1.8893200296480346</c:v>
                </c:pt>
                <c:pt idx="2">
                  <c:v>1.8893200296480346</c:v>
                </c:pt>
                <c:pt idx="3">
                  <c:v>1.8893200296480346</c:v>
                </c:pt>
                <c:pt idx="4">
                  <c:v>2.8893200296480348</c:v>
                </c:pt>
                <c:pt idx="5">
                  <c:v>3.8893200296480348</c:v>
                </c:pt>
                <c:pt idx="6">
                  <c:v>3.8893200296480348</c:v>
                </c:pt>
                <c:pt idx="7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523-439A-A0B0-FAF8DBF6F6C9}"/>
            </c:ext>
          </c:extLst>
        </c:ser>
        <c:ser>
          <c:idx val="1"/>
          <c:order val="1"/>
          <c:tx>
            <c:strRef>
              <c:f>'WEM2019'!$A$751</c:f>
              <c:strCache>
                <c:ptCount val="1"/>
                <c:pt idx="0">
                  <c:v>Водна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1:$K$751</c:f>
              <c:numCache>
                <c:formatCode>_(* #\ ##0.00_);_(* \(#\ ##0.00\);_(* "-"??_);_(@_)</c:formatCode>
                <c:ptCount val="8"/>
                <c:pt idx="0">
                  <c:v>2.355</c:v>
                </c:pt>
                <c:pt idx="1">
                  <c:v>2.5075500000000002</c:v>
                </c:pt>
                <c:pt idx="2">
                  <c:v>2.5075500000000002</c:v>
                </c:pt>
                <c:pt idx="3">
                  <c:v>2.5075500000000002</c:v>
                </c:pt>
                <c:pt idx="4">
                  <c:v>2.5075500000000002</c:v>
                </c:pt>
                <c:pt idx="5">
                  <c:v>2.5075500000000002</c:v>
                </c:pt>
                <c:pt idx="6">
                  <c:v>2.5075500000000002</c:v>
                </c:pt>
                <c:pt idx="7">
                  <c:v>2.50755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523-439A-A0B0-FAF8DBF6F6C9}"/>
            </c:ext>
          </c:extLst>
        </c:ser>
        <c:ser>
          <c:idx val="2"/>
          <c:order val="2"/>
          <c:tx>
            <c:strRef>
              <c:f>'WEM2019'!$A$752</c:f>
              <c:strCache>
                <c:ptCount val="1"/>
                <c:pt idx="0">
                  <c:v>Вятърни генератори на сушата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25400">
              <a:noFill/>
            </a:ln>
            <a:effectLst/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2:$K$752</c:f>
              <c:numCache>
                <c:formatCode>_(* #\ ##0.00_);_(* \(#\ ##0.00\);_(* "-"??_);_(@_)</c:formatCode>
                <c:ptCount val="8"/>
                <c:pt idx="0">
                  <c:v>0.69850000000000001</c:v>
                </c:pt>
                <c:pt idx="1">
                  <c:v>0.69850000000000001</c:v>
                </c:pt>
                <c:pt idx="2">
                  <c:v>0.74850000000000005</c:v>
                </c:pt>
                <c:pt idx="3">
                  <c:v>0.88738000000000006</c:v>
                </c:pt>
                <c:pt idx="4">
                  <c:v>0.88738000000000006</c:v>
                </c:pt>
                <c:pt idx="5">
                  <c:v>1.5155190401377217</c:v>
                </c:pt>
                <c:pt idx="6">
                  <c:v>2.4633775270179021</c:v>
                </c:pt>
                <c:pt idx="7">
                  <c:v>4.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523-439A-A0B0-FAF8DBF6F6C9}"/>
            </c:ext>
          </c:extLst>
        </c:ser>
        <c:ser>
          <c:idx val="3"/>
          <c:order val="3"/>
          <c:tx>
            <c:strRef>
              <c:f>'WEM2019'!$A$753</c:f>
              <c:strCache>
                <c:ptCount val="1"/>
                <c:pt idx="0">
                  <c:v>Слънчеви ФВт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3:$K$753</c:f>
              <c:numCache>
                <c:formatCode>_(* #\ ##0.00_);_(* \(#\ ##0.00\);_(* "-"??_);_(@_)</c:formatCode>
                <c:ptCount val="8"/>
                <c:pt idx="0">
                  <c:v>1.0289999999999999</c:v>
                </c:pt>
                <c:pt idx="1">
                  <c:v>1.0421399999999998</c:v>
                </c:pt>
                <c:pt idx="2">
                  <c:v>1.8834118586567123</c:v>
                </c:pt>
                <c:pt idx="3">
                  <c:v>3.3428852201976595</c:v>
                </c:pt>
                <c:pt idx="4">
                  <c:v>3.3428852201976595</c:v>
                </c:pt>
                <c:pt idx="5">
                  <c:v>3.3428852201976595</c:v>
                </c:pt>
                <c:pt idx="6">
                  <c:v>3.3428852201976595</c:v>
                </c:pt>
                <c:pt idx="7">
                  <c:v>4.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523-439A-A0B0-FAF8DBF6F6C9}"/>
            </c:ext>
          </c:extLst>
        </c:ser>
        <c:ser>
          <c:idx val="6"/>
          <c:order val="4"/>
          <c:tx>
            <c:strRef>
              <c:f>'WEM2019'!$A$754</c:f>
              <c:strCache>
                <c:ptCount val="1"/>
                <c:pt idx="0">
                  <c:v>На твърдо гориво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25400">
              <a:noFill/>
            </a:ln>
            <a:effectLst/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4:$K$754</c:f>
              <c:numCache>
                <c:formatCode>_(* #\ ##0.00_);_(* \(#\ ##0.00\);_(* "-"??_);_(@_)</c:formatCode>
                <c:ptCount val="8"/>
                <c:pt idx="0">
                  <c:v>4.3007886896891696</c:v>
                </c:pt>
                <c:pt idx="1">
                  <c:v>4.3007886896891696</c:v>
                </c:pt>
                <c:pt idx="2">
                  <c:v>3.4313496855953014</c:v>
                </c:pt>
                <c:pt idx="3">
                  <c:v>2.518573842037501</c:v>
                </c:pt>
                <c:pt idx="4">
                  <c:v>1.4531844374605765</c:v>
                </c:pt>
                <c:pt idx="5">
                  <c:v>1.4531844374605765</c:v>
                </c:pt>
                <c:pt idx="6">
                  <c:v>1.0757733096405493</c:v>
                </c:pt>
                <c:pt idx="7">
                  <c:v>1.07577330964054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523-439A-A0B0-FAF8DBF6F6C9}"/>
            </c:ext>
          </c:extLst>
        </c:ser>
        <c:ser>
          <c:idx val="4"/>
          <c:order val="5"/>
          <c:tx>
            <c:strRef>
              <c:f>'WEM2019'!$A$758</c:f>
              <c:strCache>
                <c:ptCount val="1"/>
                <c:pt idx="0">
                  <c:v>На газ</c:v>
                </c:pt>
              </c:strCache>
            </c:strRef>
          </c:tx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8:$K$758</c:f>
              <c:numCache>
                <c:formatCode>_(* #\ ##0.00_);_(* \(#\ ##0.00\);_(* "-"??_);_(@_)</c:formatCode>
                <c:ptCount val="8"/>
                <c:pt idx="0">
                  <c:v>1.9085746542452098</c:v>
                </c:pt>
                <c:pt idx="1">
                  <c:v>1.9085746542452098</c:v>
                </c:pt>
                <c:pt idx="2">
                  <c:v>2.1276789928448161</c:v>
                </c:pt>
                <c:pt idx="3">
                  <c:v>2.5225641033713395</c:v>
                </c:pt>
                <c:pt idx="4">
                  <c:v>2.6995460981579411</c:v>
                </c:pt>
                <c:pt idx="5">
                  <c:v>2.6817239032168243</c:v>
                </c:pt>
                <c:pt idx="6">
                  <c:v>2.7123902074648552</c:v>
                </c:pt>
                <c:pt idx="7">
                  <c:v>4.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523-439A-A0B0-FAF8DBF6F6C9}"/>
            </c:ext>
          </c:extLst>
        </c:ser>
        <c:ser>
          <c:idx val="5"/>
          <c:order val="6"/>
          <c:tx>
            <c:strRef>
              <c:f>'WEM2019'!$A$759</c:f>
              <c:strCache>
                <c:ptCount val="1"/>
                <c:pt idx="0">
                  <c:v>Биомаса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59:$K$759</c:f>
              <c:numCache>
                <c:formatCode>_(* #\ ##0.00_);_(* \(#\ ##0.00\);_(* "-"??_);_(@_)</c:formatCode>
                <c:ptCount val="8"/>
                <c:pt idx="0">
                  <c:v>4.538927060851889E-2</c:v>
                </c:pt>
                <c:pt idx="1">
                  <c:v>7.8842219460714943E-2</c:v>
                </c:pt>
                <c:pt idx="2">
                  <c:v>0.22918607985883344</c:v>
                </c:pt>
                <c:pt idx="3">
                  <c:v>0.23406623665235571</c:v>
                </c:pt>
                <c:pt idx="4">
                  <c:v>0.23535800021510875</c:v>
                </c:pt>
                <c:pt idx="5">
                  <c:v>0.23776538842563508</c:v>
                </c:pt>
                <c:pt idx="6">
                  <c:v>0.31442358546478066</c:v>
                </c:pt>
                <c:pt idx="7">
                  <c:v>0.28851689432706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523-439A-A0B0-FAF8DBF6F6C9}"/>
            </c:ext>
          </c:extLst>
        </c:ser>
        <c:ser>
          <c:idx val="7"/>
          <c:order val="7"/>
          <c:tx>
            <c:strRef>
              <c:f>'WEM2019'!$A$760</c:f>
              <c:strCache>
                <c:ptCount val="1"/>
                <c:pt idx="0">
                  <c:v>Геотермални</c:v>
                </c:pt>
              </c:strCache>
            </c:strRef>
          </c:tx>
          <c:spPr>
            <a:solidFill>
              <a:schemeClr val="accent6"/>
            </a:solidFill>
          </c:spPr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0:$K$760</c:f>
              <c:numCache>
                <c:formatCode>_(* #\ ##0.00_);_(* \(#\ ##0.00\);_(* "-"??_);_(@_)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.64610547538590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523-439A-A0B0-FAF8DBF6F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709632"/>
        <c:axId val="74334592"/>
        <c:extLst xmlns:c16r2="http://schemas.microsoft.com/office/drawing/2015/06/chart">
          <c:ext xmlns:c15="http://schemas.microsoft.com/office/drawing/2012/chart" uri="{02D57815-91ED-43cb-92C2-25804820EDAC}">
            <c15:filteredAreaSeries>
              <c15:ser>
                <c:idx val="11"/>
                <c:order val="5"/>
                <c:tx>
                  <c:strRef>
                    <c:extLst>
                      <c:ext uri="{02D57815-91ED-43cb-92C2-25804820EDAC}">
                        <c15:formulaRef>
                          <c15:sqref>'WEM2019'!$A$755</c15:sqref>
                        </c15:formulaRef>
                      </c:ext>
                    </c:extLst>
                    <c:strCache>
                      <c:ptCount val="1"/>
                      <c:pt idx="0">
                        <c:v>Въглища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 w="25400">
                    <a:noFill/>
                  </a:ln>
                  <a:effectLst/>
                </c:spPr>
                <c:cat>
                  <c:numRef>
                    <c:extLst>
                      <c:ext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WEM2019'!$D$755:$K$755</c15:sqref>
                        </c15:formulaRef>
                      </c:ext>
                    </c:extLst>
                    <c:numCache>
                      <c:formatCode>_(* #\ ##0.00_);_(* \(#\ ##0.00\);_(* "-"??_);_(@_)</c:formatCode>
                      <c:ptCount val="8"/>
                      <c:pt idx="0">
                        <c:v>0.475644793865449</c:v>
                      </c:pt>
                      <c:pt idx="1">
                        <c:v>0.475644793865449</c:v>
                      </c:pt>
                      <c:pt idx="2">
                        <c:v>0.32765715892714803</c:v>
                      </c:pt>
                      <c:pt idx="3">
                        <c:v>0.23016595309955823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6523-439A-A0B0-FAF8DBF6F6C9}"/>
                  </c:ext>
                </c:extLst>
              </c15:ser>
            </c15:filteredAreaSeries>
            <c15:filteredArea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A$756</c15:sqref>
                        </c15:formulaRef>
                      </c:ext>
                    </c:extLst>
                    <c:strCache>
                      <c:ptCount val="1"/>
                      <c:pt idx="0">
                        <c:v>Лигнит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  <a:lumOff val="40000"/>
                    </a:schemeClr>
                  </a:solidFill>
                  <a:ln w="25400">
                    <a:noFill/>
                  </a:ln>
                </c:spP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56:$K$756</c15:sqref>
                        </c15:formulaRef>
                      </c:ext>
                    </c:extLst>
                    <c:numCache>
                      <c:formatCode>_(* #\ ##0.00_);_(* \(#\ ##0.00\);_(* "-"??_);_(@_)</c:formatCode>
                      <c:ptCount val="8"/>
                      <c:pt idx="0">
                        <c:v>3.6880622625304866</c:v>
                      </c:pt>
                      <c:pt idx="1">
                        <c:v>3.6880622625304866</c:v>
                      </c:pt>
                      <c:pt idx="2">
                        <c:v>2.9666108933749191</c:v>
                      </c:pt>
                      <c:pt idx="3">
                        <c:v>2.201781990055014</c:v>
                      </c:pt>
                      <c:pt idx="4">
                        <c:v>1.3665585385776478</c:v>
                      </c:pt>
                      <c:pt idx="5">
                        <c:v>1.3665585385776478</c:v>
                      </c:pt>
                      <c:pt idx="6">
                        <c:v>0.98914741075762047</c:v>
                      </c:pt>
                      <c:pt idx="7">
                        <c:v>0.9891474107576204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6523-439A-A0B0-FAF8DBF6F6C9}"/>
                  </c:ext>
                </c:extLst>
              </c15:ser>
            </c15:filteredAreaSeries>
            <c15:filteredAreaSeries>
              <c15:ser>
                <c:idx val="9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A$757</c15:sqref>
                        </c15:formulaRef>
                      </c:ext>
                    </c:extLst>
                    <c:strCache>
                      <c:ptCount val="1"/>
                      <c:pt idx="0">
                        <c:v>Промишлени когенерации - Твърди горива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 w="25400">
                    <a:noFill/>
                  </a:ln>
                </c:spP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57:$K$757</c15:sqref>
                        </c15:formulaRef>
                      </c:ext>
                    </c:extLst>
                    <c:numCache>
                      <c:formatCode>_(* #\ ##0.00_);_(* \(#\ ##0.00\);_(* "-"??_);_(@_)</c:formatCode>
                      <c:ptCount val="8"/>
                      <c:pt idx="0">
                        <c:v>0.13708163329323386</c:v>
                      </c:pt>
                      <c:pt idx="1">
                        <c:v>0.13708163329323386</c:v>
                      </c:pt>
                      <c:pt idx="2">
                        <c:v>0.13708163329323386</c:v>
                      </c:pt>
                      <c:pt idx="3">
                        <c:v>8.662589888292882E-2</c:v>
                      </c:pt>
                      <c:pt idx="4">
                        <c:v>8.662589888292882E-2</c:v>
                      </c:pt>
                      <c:pt idx="5">
                        <c:v>8.662589888292882E-2</c:v>
                      </c:pt>
                      <c:pt idx="6">
                        <c:v>8.662589888292882E-2</c:v>
                      </c:pt>
                      <c:pt idx="7">
                        <c:v>8.662589888292882E-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6523-439A-A0B0-FAF8DBF6F6C9}"/>
                  </c:ext>
                </c:extLst>
              </c15:ser>
            </c15:filteredAreaSeries>
          </c:ext>
        </c:extLst>
      </c:areaChart>
      <c:catAx>
        <c:axId val="74709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bg-BG"/>
          </a:p>
        </c:txPr>
        <c:crossAx val="74334592"/>
        <c:crosses val="autoZero"/>
        <c:auto val="1"/>
        <c:lblAlgn val="ctr"/>
        <c:lblOffset val="100"/>
        <c:noMultiLvlLbl val="0"/>
      </c:catAx>
      <c:valAx>
        <c:axId val="74334592"/>
        <c:scaling>
          <c:orientation val="minMax"/>
          <c:max val="24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GW</a:t>
                </a:r>
              </a:p>
            </c:rich>
          </c:tx>
          <c:layout/>
          <c:overlay val="0"/>
        </c:title>
        <c:numFmt formatCode="_(* #\ ##0.00_);_(* \(#\ 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bg-BG"/>
          </a:p>
        </c:txPr>
        <c:crossAx val="74709632"/>
        <c:crosses val="autoZero"/>
        <c:crossBetween val="midCat"/>
        <c:majorUnit val="4"/>
      </c:valAx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bg-BG"/>
        </a:p>
      </c:txPr>
    </c:legend>
    <c:plotVisOnly val="1"/>
    <c:dispBlanksAs val="zero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bg-BG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bg-BG"/>
              <a:t>Дял</a:t>
            </a:r>
            <a:r>
              <a:rPr lang="en-US"/>
              <a:t> (%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WEM2019'!$A$765</c:f>
              <c:strCache>
                <c:ptCount val="1"/>
                <c:pt idx="0">
                  <c:v>Ядрена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5:$K$765</c:f>
              <c:numCache>
                <c:formatCode>0</c:formatCode>
                <c:ptCount val="8"/>
                <c:pt idx="0">
                  <c:v>15.45257272524108</c:v>
                </c:pt>
                <c:pt idx="1">
                  <c:v>15.204919310287623</c:v>
                </c:pt>
                <c:pt idx="2">
                  <c:v>14.740739049414314</c:v>
                </c:pt>
                <c:pt idx="3">
                  <c:v>13.589943181159182</c:v>
                </c:pt>
                <c:pt idx="4">
                  <c:v>20.61558255388206</c:v>
                </c:pt>
                <c:pt idx="5">
                  <c:v>24.886952688209597</c:v>
                </c:pt>
                <c:pt idx="6">
                  <c:v>23.852488932755364</c:v>
                </c:pt>
                <c:pt idx="7">
                  <c:v>10.4941147316829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D3-4E1F-8766-B3A6971B8DD2}"/>
            </c:ext>
          </c:extLst>
        </c:ser>
        <c:ser>
          <c:idx val="1"/>
          <c:order val="1"/>
          <c:tx>
            <c:strRef>
              <c:f>'WEM2019'!$A$766</c:f>
              <c:strCache>
                <c:ptCount val="1"/>
                <c:pt idx="0">
                  <c:v>Водна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6:$K$766</c:f>
              <c:numCache>
                <c:formatCode>0</c:formatCode>
                <c:ptCount val="8"/>
                <c:pt idx="0">
                  <c:v>19.261325872209198</c:v>
                </c:pt>
                <c:pt idx="1">
                  <c:v>20.180326688017228</c:v>
                </c:pt>
                <c:pt idx="2">
                  <c:v>19.564255723391028</c:v>
                </c:pt>
                <c:pt idx="3">
                  <c:v>18.036892368236877</c:v>
                </c:pt>
                <c:pt idx="4">
                  <c:v>17.891615848205014</c:v>
                </c:pt>
                <c:pt idx="5">
                  <c:v>16.045292682939071</c:v>
                </c:pt>
                <c:pt idx="6">
                  <c:v>15.378345872130087</c:v>
                </c:pt>
                <c:pt idx="7">
                  <c:v>13.1572586977157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5D3-4E1F-8766-B3A6971B8DD2}"/>
            </c:ext>
          </c:extLst>
        </c:ser>
        <c:ser>
          <c:idx val="2"/>
          <c:order val="2"/>
          <c:tx>
            <c:strRef>
              <c:f>'WEM2019'!$A$767</c:f>
              <c:strCache>
                <c:ptCount val="1"/>
                <c:pt idx="0">
                  <c:v>Вятърни генератори на сушата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7:$K$767</c:f>
              <c:numCache>
                <c:formatCode>0</c:formatCode>
                <c:ptCount val="8"/>
                <c:pt idx="0">
                  <c:v>5.7129665060459125</c:v>
                </c:pt>
                <c:pt idx="1">
                  <c:v>5.6214066286136006</c:v>
                </c:pt>
                <c:pt idx="2">
                  <c:v>5.8399016605683567</c:v>
                </c:pt>
                <c:pt idx="3">
                  <c:v>6.3829544973085435</c:v>
                </c:pt>
                <c:pt idx="4">
                  <c:v>6.3315435669797875</c:v>
                </c:pt>
                <c:pt idx="5">
                  <c:v>9.6974921997872929</c:v>
                </c:pt>
                <c:pt idx="6">
                  <c:v>15.107444168257372</c:v>
                </c:pt>
                <c:pt idx="7">
                  <c:v>22.2475232311677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5D3-4E1F-8766-B3A6971B8DD2}"/>
            </c:ext>
          </c:extLst>
        </c:ser>
        <c:ser>
          <c:idx val="3"/>
          <c:order val="3"/>
          <c:tx>
            <c:strRef>
              <c:f>'WEM2019'!$A$768</c:f>
              <c:strCache>
                <c:ptCount val="1"/>
                <c:pt idx="0">
                  <c:v>Слънчеви ФВт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8:$K$768</c:f>
              <c:numCache>
                <c:formatCode>0</c:formatCode>
                <c:ptCount val="8"/>
                <c:pt idx="0">
                  <c:v>8.4160952537168843</c:v>
                </c:pt>
                <c:pt idx="1">
                  <c:v>8.3869616377142098</c:v>
                </c:pt>
                <c:pt idx="2">
                  <c:v>14.694642673217729</c:v>
                </c:pt>
                <c:pt idx="3">
                  <c:v>24.045486995702984</c:v>
                </c:pt>
                <c:pt idx="4">
                  <c:v>23.851814793092359</c:v>
                </c:pt>
                <c:pt idx="5">
                  <c:v>21.3904296080009</c:v>
                </c:pt>
                <c:pt idx="6">
                  <c:v>20.501304112393111</c:v>
                </c:pt>
                <c:pt idx="7">
                  <c:v>24.9759930614053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5D3-4E1F-8766-B3A6971B8DD2}"/>
            </c:ext>
          </c:extLst>
        </c:ser>
        <c:ser>
          <c:idx val="6"/>
          <c:order val="4"/>
          <c:tx>
            <c:strRef>
              <c:f>'WEM2019'!$A$769</c:f>
              <c:strCache>
                <c:ptCount val="1"/>
                <c:pt idx="0">
                  <c:v>На твърдо гориво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69:$K$769</c:f>
              <c:numCache>
                <c:formatCode>0</c:formatCode>
                <c:ptCount val="8"/>
                <c:pt idx="0">
                  <c:v>35.175750513636814</c:v>
                </c:pt>
                <c:pt idx="1">
                  <c:v>34.61200006941317</c:v>
                </c:pt>
                <c:pt idx="2">
                  <c:v>26.771870042616847</c:v>
                </c:pt>
                <c:pt idx="3">
                  <c:v>18.116187238654156</c:v>
                </c:pt>
                <c:pt idx="4">
                  <c:v>10.368613870764106</c:v>
                </c:pt>
                <c:pt idx="5">
                  <c:v>9.2986259980248107</c:v>
                </c:pt>
                <c:pt idx="6">
                  <c:v>6.5975211005397538</c:v>
                </c:pt>
                <c:pt idx="7">
                  <c:v>5.64464426832508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5D3-4E1F-8766-B3A6971B8DD2}"/>
            </c:ext>
          </c:extLst>
        </c:ser>
        <c:ser>
          <c:idx val="8"/>
          <c:order val="5"/>
          <c:tx>
            <c:strRef>
              <c:f>'WEM2019'!$A$773</c:f>
              <c:strCache>
                <c:ptCount val="1"/>
                <c:pt idx="0">
                  <c:v>На газ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bg-BG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73:$K$773</c:f>
              <c:numCache>
                <c:formatCode>0</c:formatCode>
                <c:ptCount val="8"/>
                <c:pt idx="0">
                  <c:v>15.6100545082191</c:v>
                </c:pt>
                <c:pt idx="1">
                  <c:v>15.359877183361393</c:v>
                </c:pt>
                <c:pt idx="2">
                  <c:v>16.600449009313095</c:v>
                </c:pt>
                <c:pt idx="3">
                  <c:v>18.144889324036136</c:v>
                </c:pt>
                <c:pt idx="4">
                  <c:v>19.26152688989756</c:v>
                </c:pt>
                <c:pt idx="5">
                  <c:v>17.159795386711217</c:v>
                </c:pt>
                <c:pt idx="6">
                  <c:v>16.634593428076496</c:v>
                </c:pt>
                <c:pt idx="7">
                  <c:v>21.6178763472667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5D3-4E1F-8766-B3A6971B8DD2}"/>
            </c:ext>
          </c:extLst>
        </c:ser>
        <c:ser>
          <c:idx val="9"/>
          <c:order val="6"/>
          <c:tx>
            <c:strRef>
              <c:f>'WEM2019'!$A$774</c:f>
              <c:strCache>
                <c:ptCount val="1"/>
                <c:pt idx="0">
                  <c:v>Биомаса</c:v>
                </c:pt>
              </c:strCache>
            </c:strRef>
          </c:tx>
          <c:invertIfNegative val="0"/>
          <c:dLbls>
            <c:delete val="1"/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74:$K$774</c:f>
              <c:numCache>
                <c:formatCode>0</c:formatCode>
                <c:ptCount val="8"/>
                <c:pt idx="0">
                  <c:v>0.37123462093102738</c:v>
                </c:pt>
                <c:pt idx="1">
                  <c:v>0.63450848259280057</c:v>
                </c:pt>
                <c:pt idx="2">
                  <c:v>1.7881418414786285</c:v>
                </c:pt>
                <c:pt idx="3">
                  <c:v>1.6836463949021159</c:v>
                </c:pt>
                <c:pt idx="4">
                  <c:v>1.6793024771791103</c:v>
                </c:pt>
                <c:pt idx="5">
                  <c:v>1.5214114363270954</c:v>
                </c:pt>
                <c:pt idx="6">
                  <c:v>1.9283023858478001</c:v>
                </c:pt>
                <c:pt idx="7">
                  <c:v>1.5138646955485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5D3-4E1F-8766-B3A6971B8DD2}"/>
            </c:ext>
          </c:extLst>
        </c:ser>
        <c:ser>
          <c:idx val="10"/>
          <c:order val="7"/>
          <c:tx>
            <c:strRef>
              <c:f>'WEM2019'!$A$775</c:f>
              <c:strCache>
                <c:ptCount val="1"/>
                <c:pt idx="0">
                  <c:v>Геотермални</c:v>
                </c:pt>
              </c:strCache>
            </c:strRef>
          </c:tx>
          <c:invertIfNegative val="0"/>
          <c:dLbls>
            <c:delete val="1"/>
          </c:dLbls>
          <c:cat>
            <c:numRef>
              <c:f>'WEM2019'!$D$749:$K$749</c:f>
              <c:numCache>
                <c:formatCode>General</c:formatCode>
                <c:ptCount val="8"/>
                <c:pt idx="0">
                  <c:v>2015</c:v>
                </c:pt>
                <c:pt idx="1">
                  <c:v>2020</c:v>
                </c:pt>
                <c:pt idx="2">
                  <c:v>2025</c:v>
                </c:pt>
                <c:pt idx="3">
                  <c:v>2030</c:v>
                </c:pt>
                <c:pt idx="4">
                  <c:v>2035</c:v>
                </c:pt>
                <c:pt idx="5">
                  <c:v>2040</c:v>
                </c:pt>
                <c:pt idx="6">
                  <c:v>2045</c:v>
                </c:pt>
                <c:pt idx="7">
                  <c:v>2050</c:v>
                </c:pt>
              </c:numCache>
            </c:numRef>
          </c:cat>
          <c:val>
            <c:numRef>
              <c:f>'WEM2019'!$D$775:$K$775</c:f>
              <c:numCache>
                <c:formatCode>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348724966887828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5D3-4E1F-8766-B3A6971B8DD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74459392"/>
        <c:axId val="74461184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4"/>
                <c:order val="5"/>
                <c:tx>
                  <c:strRef>
                    <c:extLst>
                      <c:ext uri="{02D57815-91ED-43cb-92C2-25804820EDAC}">
                        <c15:formulaRef>
                          <c15:sqref>'WEM2019'!$A$770</c15:sqref>
                        </c15:formulaRef>
                      </c:ext>
                    </c:extLst>
                    <c:strCache>
                      <c:ptCount val="1"/>
                      <c:pt idx="0">
                        <c:v>Въглища</c:v>
                      </c:pt>
                    </c:strCache>
                  </c:strRef>
                </c:tx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WEM2019'!$D$770:$K$770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3.8902545112790587</c:v>
                      </c:pt>
                      <c:pt idx="1">
                        <c:v>3.827906652971774</c:v>
                      </c:pt>
                      <c:pt idx="2">
                        <c:v>2.5564269692929349</c:v>
                      </c:pt>
                      <c:pt idx="3">
                        <c:v>1.655591522757029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05D3-4E1F-8766-B3A6971B8DD2}"/>
                  </c:ext>
                </c:extLst>
              </c15:ser>
            </c15:filteredBarSeries>
            <c15:filteredBarSeries>
              <c15:ser>
                <c:idx val="5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A$771</c15:sqref>
                        </c15:formulaRef>
                      </c:ext>
                    </c:extLst>
                    <c:strCache>
                      <c:ptCount val="1"/>
                      <c:pt idx="0">
                        <c:v>Лигнит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  <a:lumOff val="40000"/>
                    </a:schemeClr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71:$K$771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30.164318078809703</c:v>
                      </c:pt>
                      <c:pt idx="1">
                        <c:v>29.680884251007228</c:v>
                      </c:pt>
                      <c:pt idx="2">
                        <c:v>23.145913002645781</c:v>
                      </c:pt>
                      <c:pt idx="3">
                        <c:v>15.837492681280404</c:v>
                      </c:pt>
                      <c:pt idx="4">
                        <c:v>9.7505295632452889</c:v>
                      </c:pt>
                      <c:pt idx="5">
                        <c:v>8.7443248269617104</c:v>
                      </c:pt>
                      <c:pt idx="6">
                        <c:v>6.0662602943720421</c:v>
                      </c:pt>
                      <c:pt idx="7">
                        <c:v>5.190113207518775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05D3-4E1F-8766-B3A6971B8DD2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A$772</c15:sqref>
                        </c15:formulaRef>
                      </c:ext>
                    </c:extLst>
                    <c:strCache>
                      <c:ptCount val="1"/>
                      <c:pt idx="0">
                        <c:v>Промишлени когенерации - Твърди горива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49:$K$74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5</c:v>
                      </c:pt>
                      <c:pt idx="1">
                        <c:v>2020</c:v>
                      </c:pt>
                      <c:pt idx="2">
                        <c:v>2025</c:v>
                      </c:pt>
                      <c:pt idx="3">
                        <c:v>2030</c:v>
                      </c:pt>
                      <c:pt idx="4">
                        <c:v>2035</c:v>
                      </c:pt>
                      <c:pt idx="5">
                        <c:v>2040</c:v>
                      </c:pt>
                      <c:pt idx="6">
                        <c:v>2045</c:v>
                      </c:pt>
                      <c:pt idx="7">
                        <c:v>205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WEM2019'!$D$772:$K$772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.1211779235480506</c:v>
                      </c:pt>
                      <c:pt idx="1">
                        <c:v>1.103209165434164</c:v>
                      </c:pt>
                      <c:pt idx="2">
                        <c:v>1.0695300706781283</c:v>
                      </c:pt>
                      <c:pt idx="3">
                        <c:v>0.62310303461672067</c:v>
                      </c:pt>
                      <c:pt idx="4">
                        <c:v>0.61808430751881882</c:v>
                      </c:pt>
                      <c:pt idx="5">
                        <c:v>0.5543011710631004</c:v>
                      </c:pt>
                      <c:pt idx="6">
                        <c:v>0.53126080616771221</c:v>
                      </c:pt>
                      <c:pt idx="7">
                        <c:v>0.4545310608063087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05D3-4E1F-8766-B3A6971B8DD2}"/>
                  </c:ext>
                </c:extLst>
              </c15:ser>
            </c15:filteredBarSeries>
          </c:ext>
        </c:extLst>
      </c:barChart>
      <c:catAx>
        <c:axId val="74459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bg-BG"/>
          </a:p>
        </c:txPr>
        <c:crossAx val="74461184"/>
        <c:crosses val="autoZero"/>
        <c:auto val="1"/>
        <c:lblAlgn val="ctr"/>
        <c:lblOffset val="100"/>
        <c:noMultiLvlLbl val="0"/>
      </c:catAx>
      <c:valAx>
        <c:axId val="74461184"/>
        <c:scaling>
          <c:orientation val="minMax"/>
          <c:max val="10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74459392"/>
        <c:crosses val="autoZero"/>
        <c:crossBetween val="between"/>
      </c:valAx>
    </c:plotArea>
    <c:plotVisOnly val="1"/>
    <c:dispBlanksAs val="zero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bg-BG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037232564601276E-2"/>
          <c:y val="2.5254978144730451E-2"/>
          <c:w val="0.93178660739094188"/>
          <c:h val="0.8742107819329771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rgbClr val="9DD4CF"/>
              </a:solidFill>
              <a:prstDash val="solid"/>
            </a:ln>
          </c:spPr>
          <c:marker>
            <c:symbol val="circle"/>
            <c:size val="6"/>
            <c:spPr>
              <a:solidFill>
                <a:srgbClr val="9DD4CF"/>
              </a:solidFill>
              <a:ln w="9525" algn="ctr">
                <a:solidFill>
                  <a:srgbClr val="9DD4CF"/>
                </a:solidFill>
                <a:prstDash val="solid"/>
              </a:ln>
            </c:spPr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37.866553746689519</c:v>
                </c:pt>
                <c:pt idx="1">
                  <c:v>34.987122822574506</c:v>
                </c:pt>
                <c:pt idx="2">
                  <c:v>36.19386691282889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CA8-4D5B-935A-AE4ADEF01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426240"/>
        <c:axId val="74813440"/>
      </c:scatterChart>
      <c:valAx>
        <c:axId val="74426240"/>
        <c:scaling>
          <c:orientation val="minMax"/>
          <c:max val="2030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&quot; &quot;;&quot;-&quot;0&quot; 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74813440"/>
        <c:crosses val="min"/>
        <c:crossBetween val="midCat"/>
        <c:majorUnit val="5"/>
      </c:valAx>
      <c:valAx>
        <c:axId val="74813440"/>
        <c:scaling>
          <c:orientation val="minMax"/>
          <c:max val="42"/>
          <c:min val="33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74426240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302558398220241E-3"/>
          <c:y val="2.7310924369747899E-2"/>
          <c:w val="0.98553948832035598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97A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DD4C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38A-44F9-B3A6-429E6567F2E8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32.66997295142301</c:v>
                </c:pt>
                <c:pt idx="1">
                  <c:v>27942.076524540673</c:v>
                </c:pt>
                <c:pt idx="2">
                  <c:v>704.128683187209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38A-44F9-B3A6-429E6567F2E8}"/>
            </c:ext>
          </c:extLst>
        </c:ser>
        <c:ser>
          <c:idx val="1"/>
          <c:order val="1"/>
          <c:spPr>
            <a:solidFill>
              <a:srgbClr val="9DD4CF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DDEFE8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38A-44F9-B3A6-429E6567F2E8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31852.950176887367</c:v>
                </c:pt>
                <c:pt idx="1">
                  <c:v>51212.179080145979</c:v>
                </c:pt>
                <c:pt idx="2">
                  <c:v>32444.3018321486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38A-44F9-B3A6-429E6567F2E8}"/>
            </c:ext>
          </c:extLst>
        </c:ser>
        <c:ser>
          <c:idx val="2"/>
          <c:order val="2"/>
          <c:spPr>
            <a:solidFill>
              <a:srgbClr val="DDEFE8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75787B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38A-44F9-B3A6-429E6567F2E8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52419.44162706301</c:v>
                </c:pt>
                <c:pt idx="1">
                  <c:v>8070.1171515981696</c:v>
                </c:pt>
                <c:pt idx="2">
                  <c:v>44298.7076619825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38A-44F9-B3A6-429E6567F2E8}"/>
            </c:ext>
          </c:extLst>
        </c:ser>
        <c:ser>
          <c:idx val="3"/>
          <c:order val="3"/>
          <c:spPr>
            <a:solidFill>
              <a:srgbClr val="75787B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6FC2B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238A-44F9-B3A6-429E6567F2E8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9359.7405810159544</c:v>
                </c:pt>
                <c:pt idx="1">
                  <c:v>-8000.153504918595</c:v>
                </c:pt>
                <c:pt idx="2">
                  <c:v>6396.03470443854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238A-44F9-B3A6-429E6567F2E8}"/>
            </c:ext>
          </c:extLst>
        </c:ser>
        <c:ser>
          <c:idx val="4"/>
          <c:order val="4"/>
          <c:spPr>
            <a:solidFill>
              <a:srgbClr val="6FC2B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97A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238A-44F9-B3A6-429E6567F2E8}"/>
              </c:ext>
            </c:extLst>
          </c:dPt>
          <c:val>
            <c:numRef>
              <c:f>Sheet1!$A$5:$C$5</c:f>
              <c:numCache>
                <c:formatCode>General</c:formatCode>
                <c:ptCount val="3"/>
                <c:pt idx="0">
                  <c:v>-7999.5405171870007</c:v>
                </c:pt>
                <c:pt idx="1">
                  <c:v>-41.48872970431421</c:v>
                </c:pt>
                <c:pt idx="2">
                  <c:v>-7999.73055571228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238A-44F9-B3A6-429E6567F2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4562176"/>
        <c:axId val="74576256"/>
      </c:barChart>
      <c:catAx>
        <c:axId val="74562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74576256"/>
        <c:crossesAt val="0"/>
        <c:auto val="0"/>
        <c:lblAlgn val="ctr"/>
        <c:lblOffset val="100"/>
        <c:noMultiLvlLbl val="0"/>
      </c:catAx>
      <c:valAx>
        <c:axId val="74576256"/>
        <c:scaling>
          <c:orientation val="minMax"/>
          <c:max val="100000"/>
          <c:min val="-1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bg-BG"/>
          </a:p>
        </c:txPr>
        <c:crossAx val="74562176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72004" cy="464316"/>
          </a:xfrm>
          <a:prstGeom prst="rect">
            <a:avLst/>
          </a:prstGeom>
        </p:spPr>
        <p:txBody>
          <a:bodyPr vert="horz" lIns="86813" tIns="43407" rIns="86813" bIns="4340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463" y="1"/>
            <a:ext cx="2972004" cy="464316"/>
          </a:xfrm>
          <a:prstGeom prst="rect">
            <a:avLst/>
          </a:prstGeom>
        </p:spPr>
        <p:txBody>
          <a:bodyPr vert="horz" lIns="86813" tIns="43407" rIns="86813" bIns="4340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9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0644"/>
            <a:ext cx="2972004" cy="464316"/>
          </a:xfrm>
          <a:prstGeom prst="rect">
            <a:avLst/>
          </a:prstGeom>
        </p:spPr>
        <p:txBody>
          <a:bodyPr vert="horz" lIns="86813" tIns="43407" rIns="86813" bIns="4340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463" y="8830644"/>
            <a:ext cx="2972004" cy="464316"/>
          </a:xfrm>
          <a:prstGeom prst="rect">
            <a:avLst/>
          </a:prstGeom>
        </p:spPr>
        <p:txBody>
          <a:bodyPr vert="horz" lIns="86813" tIns="43407" rIns="86813" bIns="4340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4820"/>
          </a:xfrm>
          <a:prstGeom prst="rect">
            <a:avLst/>
          </a:prstGeom>
        </p:spPr>
        <p:txBody>
          <a:bodyPr vert="horz" lIns="94037" tIns="47017" rIns="94037" bIns="47017" rtlCol="0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5" y="1"/>
            <a:ext cx="2971800" cy="464820"/>
          </a:xfrm>
          <a:prstGeom prst="rect">
            <a:avLst/>
          </a:prstGeom>
        </p:spPr>
        <p:txBody>
          <a:bodyPr vert="horz" lIns="94037" tIns="47017" rIns="94037" bIns="47017" rtlCol="0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37" tIns="47017" rIns="94037" bIns="4701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4037" tIns="47017" rIns="94037" bIns="47017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4037" tIns="47017" rIns="94037" bIns="47017" rtlCol="0" anchor="b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5" y="8829968"/>
            <a:ext cx="2971800" cy="464820"/>
          </a:xfrm>
          <a:prstGeom prst="rect">
            <a:avLst/>
          </a:prstGeom>
        </p:spPr>
        <p:txBody>
          <a:bodyPr vert="horz" lIns="94037" tIns="47017" rIns="94037" bIns="47017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6488" y="698500"/>
            <a:ext cx="46450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055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6488" y="698500"/>
            <a:ext cx="46450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016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2700"/>
              </a:spcBef>
              <a:defRPr sz="21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47060" algn="r"/>
              </a:tabLst>
              <a:defRPr/>
            </a:lvl1pPr>
            <a:lvl2pPr>
              <a:tabLst>
                <a:tab pos="5047060" algn="r"/>
              </a:tabLst>
              <a:defRPr/>
            </a:lvl2pPr>
            <a:lvl3pPr>
              <a:tabLst>
                <a:tab pos="5047060" algn="r"/>
              </a:tabLst>
              <a:defRPr/>
            </a:lvl3pPr>
            <a:lvl4pPr>
              <a:tabLst>
                <a:tab pos="504706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6970268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47060" algn="r"/>
              </a:tabLst>
              <a:defRPr/>
            </a:lvl1pPr>
            <a:lvl2pPr>
              <a:tabLst>
                <a:tab pos="5047060" algn="r"/>
              </a:tabLst>
              <a:defRPr/>
            </a:lvl2pPr>
            <a:lvl3pPr>
              <a:tabLst>
                <a:tab pos="5047060" algn="r"/>
              </a:tabLst>
              <a:defRPr/>
            </a:lvl3pPr>
            <a:lvl4pPr>
              <a:tabLst>
                <a:tab pos="504706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766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49371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863809" y="1701800"/>
            <a:ext cx="4886492" cy="467995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3062300" cy="4681538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2855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96001" y="1700213"/>
            <a:ext cx="83543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498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96001" y="1700213"/>
            <a:ext cx="8354300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781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93701" y="1700213"/>
            <a:ext cx="8356600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2378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2001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6000" y="1700215"/>
            <a:ext cx="8352001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6333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2001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6000" y="1700215"/>
            <a:ext cx="8352001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847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3700" y="2051999"/>
            <a:ext cx="2642082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5"/>
            <a:ext cx="2653200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5400" y="2051999"/>
            <a:ext cx="26532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5399" y="1700215"/>
            <a:ext cx="2653200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8215" y="2051999"/>
            <a:ext cx="264208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700215"/>
            <a:ext cx="2655503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7584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3700" y="2051999"/>
            <a:ext cx="2642082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5"/>
            <a:ext cx="2653200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45400" y="2051999"/>
            <a:ext cx="26532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45399" y="1700215"/>
            <a:ext cx="2653200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108215" y="2051999"/>
            <a:ext cx="264208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700215"/>
            <a:ext cx="2655503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530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422" y="295683"/>
            <a:ext cx="8382818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5422" y="651600"/>
            <a:ext cx="838281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4"/>
            <a:ext cx="3961722" cy="468153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700214"/>
            <a:ext cx="3964145" cy="4681537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489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4"/>
            <a:ext cx="3961722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1" y="1700213"/>
            <a:ext cx="3962300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3771900" algn="r"/>
              </a:tabLst>
              <a:defRPr sz="1200"/>
            </a:lvl1pPr>
            <a:lvl2pPr>
              <a:tabLst>
                <a:tab pos="3771900" algn="r"/>
              </a:tabLst>
              <a:defRPr sz="1200"/>
            </a:lvl2pPr>
            <a:lvl3pPr>
              <a:tabLst>
                <a:tab pos="3771900" algn="r"/>
              </a:tabLst>
              <a:defRPr sz="1200"/>
            </a:lvl3pPr>
            <a:lvl4pPr>
              <a:tabLst>
                <a:tab pos="3771900" algn="r"/>
              </a:tabLst>
              <a:defRPr sz="1200"/>
            </a:lvl4pPr>
            <a:lvl5pPr>
              <a:tabLst>
                <a:tab pos="3771900" algn="r"/>
              </a:tabLst>
              <a:defRPr baseline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238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95422" y="1700213"/>
            <a:ext cx="396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3994383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700213"/>
            <a:ext cx="3989454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692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3617" y="2125013"/>
            <a:ext cx="399438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3618" y="1700213"/>
            <a:ext cx="3994383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96001" y="2125013"/>
            <a:ext cx="3987619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96000" y="1700213"/>
            <a:ext cx="3989454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4945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3617" y="2125013"/>
            <a:ext cx="399438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3618" y="1700213"/>
            <a:ext cx="3994383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5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96001" y="2125013"/>
            <a:ext cx="3987619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96000" y="1700213"/>
            <a:ext cx="3989454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728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3263900" cy="4681538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879515" y="1700213"/>
            <a:ext cx="4870785" cy="4681538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3574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700214"/>
            <a:ext cx="3066888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3771900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93701" y="1700212"/>
            <a:ext cx="4862299" cy="4681538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02698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93701" y="1700215"/>
            <a:ext cx="2754313" cy="19716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45501" cy="197167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960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45501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48400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620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187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4176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80983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96000" y="1700213"/>
            <a:ext cx="4176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8402828" y="6491553"/>
            <a:ext cx="347472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432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54517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52426" y="1705669"/>
            <a:ext cx="7813675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5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61775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2425" y="1590676"/>
            <a:ext cx="6772203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038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1"/>
            <a:ext cx="7011590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224609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1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203651" y="1700213"/>
            <a:ext cx="4587925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6" y="1665290"/>
            <a:ext cx="3250247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953227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137155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65818"/>
            <a:ext cx="84391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733834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52425" y="1676403"/>
            <a:ext cx="843915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4761637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4582"/>
            <a:ext cx="84391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59816"/>
            <a:ext cx="8439150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155637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90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5100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1000" y="1665289"/>
            <a:ext cx="27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2000" y="2051999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2002" y="1665288"/>
            <a:ext cx="2700000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65220" y="2052000"/>
            <a:ext cx="27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65219" y="1659145"/>
            <a:ext cx="2700000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01290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5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51000" y="1665289"/>
            <a:ext cx="3996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56001"/>
            <a:ext cx="3996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1134687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95575" y="1665288"/>
            <a:ext cx="3996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48846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8"/>
            <a:ext cx="41103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8" y="1655764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059125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79688" y="2125014"/>
            <a:ext cx="411188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679689" y="1654029"/>
            <a:ext cx="4111887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2425" y="2125014"/>
            <a:ext cx="4111888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52424" y="1665289"/>
            <a:ext cx="4111888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51000" y="5982791"/>
            <a:ext cx="84391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869218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52425" y="1665289"/>
            <a:ext cx="3323893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111575" y="1700214"/>
            <a:ext cx="468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73145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591338" y="1626100"/>
            <a:ext cx="3200237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52425" y="1665288"/>
            <a:ext cx="4995650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488499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2425" y="1700213"/>
            <a:ext cx="2720579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62088" y="1700214"/>
            <a:ext cx="2729487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13141" y="1700213"/>
            <a:ext cx="272772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52425" y="3832225"/>
            <a:ext cx="2720579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8735" y="3832224"/>
            <a:ext cx="272772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62088" y="3832225"/>
            <a:ext cx="2729487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107511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368835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208735" y="1705968"/>
            <a:ext cx="2727722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52425" y="1705968"/>
            <a:ext cx="2720579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78132" y="1705968"/>
            <a:ext cx="2721769" cy="5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08735" y="1851441"/>
            <a:ext cx="2727722" cy="384575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52425" y="1851441"/>
            <a:ext cx="2720579" cy="384575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69807" y="1851441"/>
            <a:ext cx="2721769" cy="3845755"/>
          </a:xfrm>
        </p:spPr>
        <p:txBody>
          <a:bodyPr/>
          <a:lstStyle>
            <a:lvl1pPr>
              <a:defRPr b="1">
                <a:solidFill>
                  <a:schemeClr val="accent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924464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50837" y="1665818"/>
            <a:ext cx="4153298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52425" y="736689"/>
            <a:ext cx="84391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5752288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312329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41097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5158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CA8EC2-9F21-4C36-8255-FEBE2EF30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88D7070-57B7-418F-9D99-4EC1B7B2C7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F88D378-1403-49A6-83B4-7B6C90928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BB1A4-6D7B-4DFC-88D2-15FDC0052CF1}" type="datetimeFigureOut">
              <a:rPr lang="en-US" smtClean="0"/>
              <a:t>12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ECBC468-A541-4C25-951A-9CECD7C36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82FC9E5-AB51-4B46-B07F-1FE8AD72A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F2BBC3-8562-495E-80DB-A108FA52A8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488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93" descr="gerb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404815"/>
            <a:ext cx="820738" cy="657225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092"/>
          <p:cNvSpPr>
            <a:spLocks noChangeArrowheads="1"/>
          </p:cNvSpPr>
          <p:nvPr userDrawn="1"/>
        </p:nvSpPr>
        <p:spPr bwMode="auto">
          <a:xfrm rot="16200000">
            <a:off x="-3395662" y="3387726"/>
            <a:ext cx="6862763" cy="7143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7866" tIns="33338" rIns="67866" bIns="33338" anchor="ctr"/>
          <a:lstStyle/>
          <a:p>
            <a:pPr algn="just" fontAlgn="base">
              <a:spcBef>
                <a:spcPct val="100000"/>
              </a:spcBef>
              <a:spcAft>
                <a:spcPct val="25000"/>
              </a:spcAft>
              <a:buClr>
                <a:srgbClr val="000066"/>
              </a:buClr>
              <a:buSzPct val="130000"/>
              <a:buFontTx/>
              <a:buChar char="•"/>
            </a:pPr>
            <a:endParaRPr lang="bg-BG" sz="1350" b="1">
              <a:solidFill>
                <a:srgbClr val="00006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" name="Rectangle 2094"/>
          <p:cNvSpPr>
            <a:spLocks noChangeArrowheads="1"/>
          </p:cNvSpPr>
          <p:nvPr userDrawn="1"/>
        </p:nvSpPr>
        <p:spPr bwMode="auto">
          <a:xfrm rot="16200000">
            <a:off x="-3401218" y="3385345"/>
            <a:ext cx="6873875" cy="71438"/>
          </a:xfrm>
          <a:prstGeom prst="rect">
            <a:avLst/>
          </a:prstGeom>
          <a:solidFill>
            <a:srgbClr val="777777">
              <a:alpha val="4509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67866" tIns="33338" rIns="67866" bIns="33338" anchor="ctr"/>
          <a:lstStyle/>
          <a:p>
            <a:pPr algn="just" fontAlgn="base">
              <a:spcBef>
                <a:spcPct val="100000"/>
              </a:spcBef>
              <a:spcAft>
                <a:spcPct val="25000"/>
              </a:spcAft>
              <a:buClr>
                <a:srgbClr val="000066"/>
              </a:buClr>
              <a:buSzPct val="130000"/>
              <a:buFontTx/>
              <a:buChar char="•"/>
            </a:pPr>
            <a:endParaRPr lang="bg-BG" sz="1350" b="1">
              <a:solidFill>
                <a:srgbClr val="000066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" name="Rectangle 2092"/>
          <p:cNvSpPr>
            <a:spLocks noChangeArrowheads="1"/>
          </p:cNvSpPr>
          <p:nvPr userDrawn="1"/>
        </p:nvSpPr>
        <p:spPr bwMode="auto">
          <a:xfrm rot="16200000">
            <a:off x="-3377406" y="3377408"/>
            <a:ext cx="6862763" cy="10795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67866" tIns="33338" rIns="67866" bIns="33338" anchor="ctr"/>
          <a:lstStyle/>
          <a:p>
            <a:pPr algn="just" fontAlgn="base">
              <a:spcBef>
                <a:spcPct val="100000"/>
              </a:spcBef>
              <a:spcAft>
                <a:spcPct val="25000"/>
              </a:spcAft>
              <a:buClr>
                <a:srgbClr val="000066"/>
              </a:buClr>
              <a:buSzPct val="130000"/>
              <a:buFontTx/>
              <a:buChar char="•"/>
            </a:pPr>
            <a:endParaRPr lang="bg-BG" sz="1350" b="1">
              <a:solidFill>
                <a:srgbClr val="00CC00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143001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186238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5C546-7E16-4639-AE55-0976796C155C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36CF34-7965-475C-A6A5-F66D3F64CFB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539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D70EAC-9187-4F78-91FE-1DF3A5270C96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9A1B7-FBF3-4ADB-AE6A-DB9BF9F2F82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1559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2AFE6E-B8F7-4B7E-B8F5-DE97B4EDC23E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BB075E-F38F-48B5-84E7-D35FED0B73D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1625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EFC1E6-0D8A-424D-B18A-9EC5269DB89E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002D2-395D-4DA5-9C22-847FC0D402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7879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F374A2-51FE-4C37-A23B-793B031760B3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E3427F-8879-4C36-AB6B-71E11584175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580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665289"/>
            <a:ext cx="8391524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98CCCC-E688-4036-9673-BE808356CE35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A03913-FCBD-457D-A25F-3D073BD0B4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4473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8F7E44-C33C-4750-BD56-18EF92029BE0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17D4A-E5A5-4F44-9A3D-48EE3086ABE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8325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C66E0B-B148-492C-ABDB-C61BF85237EE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70AC49-CBFA-40E4-8AE5-2324C40453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4506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bg-BG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2C9092-F0A4-4A5D-B893-D9D9CB6F5F26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61D944-237E-4F8E-98A4-4FC42C9C09D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5027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08E6E-9ADD-41C9-B403-ACD5CDBA76D9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17DF6C-FF8C-42E2-B0B1-861AC5D4E15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044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ED76B9-CE67-4C8A-9A4C-C9BC1C8112C1}" type="datetime1">
              <a:rPr lang="bg-BG" smtClean="0">
                <a:solidFill>
                  <a:srgbClr val="000000"/>
                </a:solidFill>
              </a:rPr>
              <a:pPr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58DA2B-DE59-407F-B42A-9BF3EB331C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628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3771900" algn="r"/>
              </a:tabLst>
              <a:defRPr/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vmlDrawing" Target="../drawings/vmlDrawing2.v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679" r:id="rId2"/>
    <p:sldLayoutId id="2147483712" r:id="rId3"/>
    <p:sldLayoutId id="2147483678" r:id="rId4"/>
    <p:sldLayoutId id="2147483681" r:id="rId5"/>
    <p:sldLayoutId id="2147483735" r:id="rId6"/>
    <p:sldLayoutId id="2147483699" r:id="rId7"/>
    <p:sldLayoutId id="2147483714" r:id="rId8"/>
    <p:sldLayoutId id="2147483697" r:id="rId9"/>
    <p:sldLayoutId id="2147483715" r:id="rId10"/>
    <p:sldLayoutId id="2147483716" r:id="rId11"/>
    <p:sldLayoutId id="2147483717" r:id="rId12"/>
    <p:sldLayoutId id="2147483718" r:id="rId13"/>
    <p:sldLayoutId id="2147483728" r:id="rId14"/>
    <p:sldLayoutId id="2147483722" r:id="rId15"/>
    <p:sldLayoutId id="2147483695" r:id="rId16"/>
    <p:sldLayoutId id="2147483698" r:id="rId17"/>
    <p:sldLayoutId id="2147483752" r:id="rId18"/>
    <p:sldLayoutId id="2147483696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3" r:id="rId36"/>
    <p:sldLayoutId id="2147483794" r:id="rId37"/>
    <p:sldLayoutId id="2147483795" r:id="rId38"/>
    <p:sldLayoutId id="2147483801" r:id="rId39"/>
    <p:sldLayoutId id="2147483802" r:id="rId40"/>
    <p:sldLayoutId id="2147483803" r:id="rId4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 typeface="Arial" panose="020B0604020202020204" pitchFamily="34" charset="0"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/>
        <a:buNone/>
        <a:defRPr lang="en-US" sz="9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32300" indent="-1323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67300" indent="-132300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Verdana" panose="020B0604030504040204" pitchFamily="34" charset="0"/>
        <a:buChar char="−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99600" indent="-132300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Verdana" panose="020B060403050404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402587"/>
            <a:ext cx="843915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52425" y="1665290"/>
            <a:ext cx="84391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558215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bg-BG" sz="488" noProof="0" dirty="0" smtClean="0">
                <a:solidFill>
                  <a:schemeClr val="tx1"/>
                </a:solidFill>
              </a:rPr>
              <a:t>МЕ</a:t>
            </a:r>
            <a:r>
              <a:rPr lang="bg-BG" sz="488" baseline="0" noProof="0" dirty="0" smtClean="0">
                <a:solidFill>
                  <a:schemeClr val="tx1"/>
                </a:solidFill>
              </a:rPr>
              <a:t> 2019 г.</a:t>
            </a:r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61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8" r:id="rId16"/>
    <p:sldLayoutId id="2147483839" r:id="rId17"/>
    <p:sldLayoutId id="2147483842" r:id="rId18"/>
    <p:sldLayoutId id="2147483845" r:id="rId19"/>
    <p:sldLayoutId id="2147483846" r:id="rId20"/>
    <p:sldLayoutId id="2147483847" r:id="rId21"/>
    <p:sldLayoutId id="2147483848" r:id="rId22"/>
    <p:sldLayoutId id="2147483850" r:id="rId23"/>
  </p:sldLayoutIdLst>
  <p:transition>
    <p:fade/>
  </p:transition>
  <p:hf hdr="0" dt="0"/>
  <p:txStyles>
    <p:titleStyle>
      <a:lvl1pPr algn="l" defTabSz="914378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2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22" userDrawn="1">
          <p15:clr>
            <a:srgbClr val="F26B43"/>
          </p15:clr>
        </p15:guide>
        <p15:guide id="5" pos="5538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3740" userDrawn="1">
          <p15:clr>
            <a:srgbClr val="F26B43"/>
          </p15:clr>
        </p15:guide>
        <p15:guide id="12" pos="1037" userDrawn="1">
          <p15:clr>
            <a:srgbClr val="F26B43"/>
          </p15:clr>
        </p15:guide>
        <p15:guide id="13" pos="1122" userDrawn="1">
          <p15:clr>
            <a:srgbClr val="F26B43"/>
          </p15:clr>
        </p15:guide>
        <p15:guide id="14" pos="1936" userDrawn="1">
          <p15:clr>
            <a:srgbClr val="F26B43"/>
          </p15:clr>
        </p15:guide>
        <p15:guide id="15" pos="2021" userDrawn="1">
          <p15:clr>
            <a:srgbClr val="F26B43"/>
          </p15:clr>
        </p15:guide>
        <p15:guide id="16" pos="4639" userDrawn="1">
          <p15:clr>
            <a:srgbClr val="F26B43"/>
          </p15:clr>
        </p15:guide>
        <p15:guide id="17" pos="2837" userDrawn="1">
          <p15:clr>
            <a:srgbClr val="F26B43"/>
          </p15:clr>
        </p15:guide>
        <p15:guide id="18" pos="2922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2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bg-BG" smtClean="0"/>
              <a:t>Основни приротети на новата стратегия </a:t>
            </a:r>
            <a:endParaRPr lang="en-US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5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622A27D-DA0C-4EA4-BC75-90E4D04ECFA6}" type="datetime1">
              <a:rPr lang="bg-BG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.12.2019 г.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5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836E597-F1EF-4D66-AB4C-3F20A9A15AEE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100">
          <a:solidFill>
            <a:schemeClr val="accent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bg-BG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58.xml"/><Relationship Id="rId4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chart" Target="../charts/chart9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slideLayout" Target="../slideLayouts/slideLayout58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slideLayout" Target="../slideLayouts/slideLayout51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chart" Target="../charts/chart1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image" Target="../media/image5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" Type="http://schemas.openxmlformats.org/officeDocument/2006/relationships/tags" Target="../tags/tag67.xml"/><Relationship Id="rId21" Type="http://schemas.openxmlformats.org/officeDocument/2006/relationships/tags" Target="../tags/tag85.xml"/><Relationship Id="rId34" Type="http://schemas.openxmlformats.org/officeDocument/2006/relationships/tags" Target="../tags/tag98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tags" Target="../tags/tag97.xml"/><Relationship Id="rId38" Type="http://schemas.openxmlformats.org/officeDocument/2006/relationships/chart" Target="../charts/chart11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tags" Target="../tags/tag93.xml"/><Relationship Id="rId1" Type="http://schemas.openxmlformats.org/officeDocument/2006/relationships/vmlDrawing" Target="../drawings/vmlDrawing6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32" Type="http://schemas.openxmlformats.org/officeDocument/2006/relationships/tags" Target="../tags/tag96.xml"/><Relationship Id="rId37" Type="http://schemas.openxmlformats.org/officeDocument/2006/relationships/image" Target="../media/image5.emf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oleObject" Target="../embeddings/oleObject6.bin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tags" Target="../tags/tag95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Relationship Id="rId35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35542" y="1725083"/>
            <a:ext cx="5776968" cy="1836204"/>
          </a:xfrm>
        </p:spPr>
        <p:txBody>
          <a:bodyPr/>
          <a:lstStyle/>
          <a:p>
            <a:r>
              <a:rPr lang="bg-BG" sz="2400" dirty="0">
                <a:solidFill>
                  <a:srgbClr val="0070C0"/>
                </a:solidFill>
              </a:rPr>
              <a:t>НПЕК България 2021 - 2030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2682" y="2889662"/>
            <a:ext cx="6666470" cy="1612349"/>
          </a:xfrm>
        </p:spPr>
        <p:txBody>
          <a:bodyPr/>
          <a:lstStyle/>
          <a:p>
            <a:pPr lvl="0" algn="r"/>
            <a:endParaRPr lang="ru-RU" sz="135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lvl="0"/>
            <a:endParaRPr lang="ru-RU" sz="135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r>
              <a:rPr lang="ru-RU" dirty="0">
                <a:solidFill>
                  <a:srgbClr val="0070C0"/>
                </a:solidFill>
              </a:rPr>
              <a:t>Резюме на основни </a:t>
            </a:r>
            <a:r>
              <a:rPr lang="ru-RU" dirty="0" err="1">
                <a:solidFill>
                  <a:srgbClr val="0070C0"/>
                </a:solidFill>
              </a:rPr>
              <a:t>аспекти</a:t>
            </a:r>
            <a:r>
              <a:rPr lang="ru-RU" dirty="0">
                <a:solidFill>
                  <a:srgbClr val="0070C0"/>
                </a:solidFill>
              </a:rPr>
              <a:t> </a:t>
            </a:r>
            <a:r>
              <a:rPr lang="bg-BG" dirty="0" smtClean="0">
                <a:solidFill>
                  <a:srgbClr val="0070C0"/>
                </a:solidFill>
              </a:rPr>
              <a:t>от </a:t>
            </a:r>
          </a:p>
          <a:p>
            <a:r>
              <a:rPr lang="ru-RU" dirty="0" smtClean="0">
                <a:solidFill>
                  <a:srgbClr val="0070C0"/>
                </a:solidFill>
              </a:rPr>
              <a:t>Национален </a:t>
            </a:r>
            <a:r>
              <a:rPr lang="ru-RU" dirty="0">
                <a:solidFill>
                  <a:srgbClr val="0070C0"/>
                </a:solidFill>
              </a:rPr>
              <a:t>план енергетика и климат</a:t>
            </a:r>
          </a:p>
          <a:p>
            <a:endParaRPr lang="bg-BG" sz="1350" dirty="0">
              <a:solidFill>
                <a:srgbClr val="0070C0"/>
              </a:solidFill>
            </a:endParaRPr>
          </a:p>
          <a:p>
            <a:endParaRPr lang="bg-BG" sz="1350" dirty="0">
              <a:solidFill>
                <a:srgbClr val="0070C0"/>
              </a:solidFill>
            </a:endParaRPr>
          </a:p>
          <a:p>
            <a:r>
              <a:rPr lang="bg-BG" sz="1350" dirty="0">
                <a:solidFill>
                  <a:srgbClr val="0070C0"/>
                </a:solidFill>
              </a:rPr>
              <a:t>София 19.12.2019г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7136CF34-7965-475C-A6A5-F66D3F64CFBF}" type="slidenum">
              <a:rPr lang="en-US">
                <a:solidFill>
                  <a:srgbClr val="000000"/>
                </a:solidFill>
                <a:latin typeface="Arial"/>
              </a:rPr>
              <a:pPr defTabSz="685800">
                <a:defRPr/>
              </a:pPr>
              <a:t>1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95736" y="836333"/>
            <a:ext cx="5130570" cy="743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sz="135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 defTabSz="68580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sz="2400" b="1" kern="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МИНИСТЕРСТВО НА ЕНЕРГЕТИКАТА</a:t>
            </a:r>
          </a:p>
        </p:txBody>
      </p:sp>
    </p:spTree>
    <p:extLst>
      <p:ext uri="{BB962C8B-B14F-4D97-AF65-F5344CB8AC3E}">
        <p14:creationId xmlns:p14="http://schemas.microsoft.com/office/powerpoint/2010/main" val="399388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Зависимост от внос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588237"/>
              </p:ext>
            </p:extLst>
          </p:nvPr>
        </p:nvGraphicFramePr>
        <p:xfrm>
          <a:off x="450274" y="2440782"/>
          <a:ext cx="7791017" cy="2451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 Placeholder 18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113893" y="3674269"/>
            <a:ext cx="448108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0A2954-3A31-4202-80C6-FBCA4BCCF6FD}" type="datetime'''3''''''6''''''.''''''''''''''''''''''1''''''''''''''9''%'">
              <a:rPr lang="en-US" altLang="en-US" sz="900"/>
              <a:pPr algn="ctr">
                <a:spcBef>
                  <a:spcPct val="0"/>
                </a:spcBef>
                <a:spcAft>
                  <a:spcPct val="0"/>
                </a:spcAft>
              </a:pPr>
              <a:t>36.19%</a:t>
            </a:fld>
            <a:endParaRPr lang="en-US" sz="900" dirty="0">
              <a:sym typeface="+mn-lt"/>
            </a:endParaRPr>
          </a:p>
        </p:txBody>
      </p:sp>
      <p:sp>
        <p:nvSpPr>
          <p:cNvPr id="6" name="Text Placeholder 18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03406" y="3276601"/>
            <a:ext cx="448108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A7BCCA-FC6B-41B4-802D-45395F2C899B}" type="datetime'''''''''''37''.''''8''7''''''%'''''''''''''''''''''''''">
              <a:rPr lang="en-US" altLang="en-US" sz="900"/>
              <a:pPr algn="ctr">
                <a:spcBef>
                  <a:spcPct val="0"/>
                </a:spcBef>
                <a:spcAft>
                  <a:spcPct val="0"/>
                </a:spcAft>
              </a:pPr>
              <a:t>37.87%</a:t>
            </a:fld>
            <a:endParaRPr lang="en-US" sz="900" dirty="0">
              <a:sym typeface="+mn-lt"/>
            </a:endParaRPr>
          </a:p>
        </p:txBody>
      </p:sp>
      <p:sp>
        <p:nvSpPr>
          <p:cNvPr id="7" name="Text Placeholder 18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121728" y="3962401"/>
            <a:ext cx="448108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04D270-85B6-491F-8404-123D3B63B3FC}" type="datetime'''''''3''''''''4''''''''''''''''''''.''99''''''''''''%'">
              <a:rPr lang="en-US" altLang="en-US" sz="900"/>
              <a:pPr algn="ctr">
                <a:spcBef>
                  <a:spcPct val="0"/>
                </a:spcBef>
                <a:spcAft>
                  <a:spcPct val="0"/>
                </a:spcAft>
              </a:pPr>
              <a:t>34.99%</a:t>
            </a:fld>
            <a:endParaRPr lang="en-US" sz="9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07462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Нетен внос (</a:t>
            </a:r>
            <a:r>
              <a:rPr lang="en-US" dirty="0" err="1" smtClean="0"/>
              <a:t>GWh</a:t>
            </a:r>
            <a:r>
              <a:rPr lang="bg-BG" dirty="0" smtClean="0"/>
              <a:t>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312333"/>
              </p:ext>
            </p:extLst>
          </p:nvPr>
        </p:nvGraphicFramePr>
        <p:xfrm>
          <a:off x="290513" y="2362200"/>
          <a:ext cx="8562975" cy="226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5" name="Text Placeholder 18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7197329" y="2686050"/>
            <a:ext cx="375047" cy="228600"/>
          </a:xfrm>
          <a:prstGeom prst="rect">
            <a:avLst/>
          </a:prstGeom>
          <a:solidFill>
            <a:srgbClr val="75787B"/>
          </a:solidFill>
          <a:ln>
            <a:noFill/>
          </a:ln>
          <a:ex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5C2071-559D-4115-8C6B-09AC21F47824}" type="datetime'''''''''''6,''''''''''''3''''''''''''''''''''9''6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,396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3E57EF17-8CC6-4125-93D3-8212820C309B}" type="datetime'''''''''''''''''''8''''''''''''''.''''''4''''''''''''''%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.4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" name="Text Placeholder 18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540669" y="3124200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DEFE8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ED6E40-B35A-4638-91E4-78F68582A471}" type="datetime'52'',''''''''''''''''''''4''''1''''9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52,419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0AEC6726-3103-4445-BDE1-0AE0FCA94077}" type="datetime'6''''''''''''1''''''''''''''.''''''''''''''''''''1''''%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61.1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7" name="Text Placeholder 18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479507" y="4250531"/>
            <a:ext cx="375047" cy="228600"/>
          </a:xfrm>
          <a:prstGeom prst="rect">
            <a:avLst/>
          </a:prstGeom>
          <a:solidFill>
            <a:srgbClr val="0097A9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94FAA1-D29F-4026-8CA6-D5EDC3BE387D}" type="datetime'''''''''''''7''''0''''''4''''''''''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4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2B0F024F-DFD3-430B-9ACD-D8A2AC31F5C8}" type="datetime'''''''''0''''''''.''''''''9''''''''''''%''''''''''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9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" name="Text Placeholder 1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352925" y="3985022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D4CF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AEB4A4-35D8-46C6-BB33-E0A406BA6A60}" type="datetime'2''''''''''''''''''7'''',''''''''''''''''''''''''''9''''''42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27,942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53C14DE8-0243-405A-8069-9590443CF5FA}" type="datetime'''''''3''''''''5''.''''''''3''''''%''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35.3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540669" y="2521744"/>
            <a:ext cx="435769" cy="228600"/>
          </a:xfrm>
          <a:prstGeom prst="rect">
            <a:avLst/>
          </a:prstGeom>
          <a:solidFill>
            <a:srgbClr val="75787B"/>
          </a:solidFill>
          <a:ln>
            <a:noFill/>
          </a:ln>
          <a:ex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B744007-7272-471A-BD10-23F2D52826E4}" type="datetime'''''''''''''9,''3''''''''''''''6''0''''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,360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5431B5F9-B76D-4EC8-8FCC-5FF078589977}" type="datetime'''''''''''''1''''''''''''''''0.''''''''''''9''''''''''%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.9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" name="Text Placeholder 1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40669" y="3944541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D4CF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42E5E4F-4359-4713-A136-118E543F15AE}" type="datetime'3''''''1'''',''8''''''5''''''''''''''''''''''3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31,853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67126C0F-B47F-4E52-B54E-F7C2B10E0DE5}" type="datetime'''''''''37.''''''''''''''''1''%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37.1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69207" y="4335066"/>
            <a:ext cx="417910" cy="228600"/>
          </a:xfrm>
          <a:prstGeom prst="rect">
            <a:avLst/>
          </a:prstGeom>
          <a:solidFill>
            <a:srgbClr val="6FC2B4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B2C929-E7C6-4520-8D2D-26C7D274B653}" type="datetime'-''''8'''''''''''''''',''0''00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8,000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57A3430D-0E2D-4147-A703-8E78C317224F}" type="datetime'''''''''-''''''''''''''''9''''''.''''''''3''''''''%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9.3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Text Placeholder 1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53804" y="4256485"/>
            <a:ext cx="375047" cy="228600"/>
          </a:xfrm>
          <a:prstGeom prst="rect">
            <a:avLst/>
          </a:prstGeom>
          <a:solidFill>
            <a:srgbClr val="0097A9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58B422-6732-4455-84A1-0F6EB26CF1F7}" type="datetime'''''''''''''''''''''''''''1''''''''''''3''''''''''''''''''3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3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867DECF3-CE96-41CD-AE4B-DBEFB48CD671}" type="datetime'''0''''''''''''''''''''''''''''''''.''2''%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Text Placeholder 1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72816" y="4718448"/>
            <a:ext cx="372666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F94A89D-2EB1-4001-B7CF-F86F2D4FEEEB}" type="datetime'20''''2''0'''' ''''''''''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2020 </a:t>
            </a:fld>
            <a:endParaRPr lang="en-US" sz="900" b="1" dirty="0">
              <a:sym typeface="+mn-lt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863954" y="4335066"/>
            <a:ext cx="478631" cy="228600"/>
          </a:xfrm>
          <a:prstGeom prst="rect">
            <a:avLst/>
          </a:prstGeom>
          <a:solidFill>
            <a:srgbClr val="6FC2B4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EA1582-72C1-47C8-8F64-C25F2A69E5F3}" type="datetime'''''''''''-''8'''''''',''''0''''''''''0''''''''''''''''''0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8,000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72D7B61A-526F-494D-B9F5-7918D854ED12}" type="datetime'-''1''''''''''''''''''0''''''''''''.5''''''''''''%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0.5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Text Placeholder 1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52925" y="2637235"/>
            <a:ext cx="435769" cy="228600"/>
          </a:xfrm>
          <a:prstGeom prst="rect">
            <a:avLst/>
          </a:prstGeom>
          <a:solidFill>
            <a:srgbClr val="75787B"/>
          </a:solidFill>
          <a:ln>
            <a:noFill/>
          </a:ln>
          <a:ex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7BBBF6-34F6-418E-B744-3DAB632818C3}" type="datetime'''''''''8'',0''7''''''''''''''''0''''''''''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,070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39924587-80F5-4D8C-88C7-A083E052F9FE}" type="datetime'''''''''''''1''''''''''''0''''''''''''''''''''''.''''2''''''%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.2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Text Placeholder 1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352925" y="3214688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DEFE8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DFC90A-A1FD-498E-BC31-3FD6AA236162}" type="datetime'''''''''''51'''''',''''''''21''''''2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51,212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065E8023-B5CA-45B2-AD83-19770BFDDA41}" type="datetime'''''''''''''6''''4''''''.''7''''''''%''''''''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64.7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17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13673" y="4335066"/>
            <a:ext cx="478631" cy="228600"/>
          </a:xfrm>
          <a:prstGeom prst="rect">
            <a:avLst/>
          </a:prstGeom>
          <a:solidFill>
            <a:srgbClr val="6FC2B4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8A5969-3D74-4CFC-952D-F0367A0C1F17}" type="datetime'''''''''''''''-''''8'',''00''''''''''''''''''''''''''''''0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8,000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D3F8FDDE-3AF8-4AC0-BD02-36CD59BB42CF}" type="datetime'''''''''''''''-1''''''''''''0''''''''.1''''''''''''''''''%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0.1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Text Placeholder 1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081463" y="4413647"/>
            <a:ext cx="417910" cy="228600"/>
          </a:xfrm>
          <a:prstGeom prst="rect">
            <a:avLst/>
          </a:prstGeom>
          <a:solidFill>
            <a:srgbClr val="0097A9"/>
          </a:solidFill>
          <a:ln>
            <a:noFill/>
          </a:ln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CDB7F9-7AA3-4A66-B07E-E3DDE722367B}" type="datetime'''''''-''''''''''''''''''''''''''''''4''1''''''''''''''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41</a:t>
            </a:fld>
            <a:r>
              <a:rPr lang="en-US" altLang="en-US" sz="750">
                <a:solidFill>
                  <a:schemeClr val="bg1"/>
                </a:solidFill>
              </a:rPr>
              <a:t/>
            </a:r>
            <a:br>
              <a:rPr lang="en-US" altLang="en-US" sz="750">
                <a:solidFill>
                  <a:schemeClr val="bg1"/>
                </a:solidFill>
              </a:rPr>
            </a:br>
            <a:r>
              <a:rPr lang="en-US" altLang="en-US" sz="750">
                <a:solidFill>
                  <a:schemeClr val="bg1"/>
                </a:solidFill>
              </a:rPr>
              <a:t>(</a:t>
            </a:r>
            <a:fld id="{626AEFE9-33C9-43D2-BDEC-0860DE43785A}" type="datetime'-''''''''0''''''''''''''''''''''''''''''.''''''''1''''''%'">
              <a:rPr lang="en-US" altLang="en-US" sz="7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0.1%</a:t>
            </a:fld>
            <a:r>
              <a:rPr lang="en-US" altLang="en-US" sz="750">
                <a:solidFill>
                  <a:schemeClr val="bg1"/>
                </a:solidFill>
              </a:rPr>
              <a:t>)</a:t>
            </a:r>
            <a:endParaRPr lang="en-US" sz="75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329113" y="2500313"/>
            <a:ext cx="48458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400F50-74D8-4037-A82A-1A5DA3D02064}" type="datetime'''''''''''''''''''''''''''7''9'''''''''',''1''''8''3''''''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79,183</a:t>
            </a:fld>
            <a:endParaRPr lang="en-US" sz="900" b="1" dirty="0">
              <a:sym typeface="+mn-lt"/>
            </a:endParaRPr>
          </a:p>
        </p:txBody>
      </p:sp>
      <p:sp>
        <p:nvSpPr>
          <p:cNvPr id="20" name="Text Placeholder 18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385072" y="4718448"/>
            <a:ext cx="372666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409A3C-AD2E-49D9-8C4F-B533D8B75D16}" type="datetime'2''''''''0''''''''''''2''''5'''''''' ''''''''''''''''''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2025 </a:t>
            </a:fld>
            <a:endParaRPr lang="en-US" sz="900" b="1" dirty="0">
              <a:sym typeface="+mn-lt"/>
            </a:endParaRPr>
          </a:p>
        </p:txBody>
      </p:sp>
      <p:sp>
        <p:nvSpPr>
          <p:cNvPr id="21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166373" y="3180160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DEFE8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CAEC10-11FF-42F5-A521-82F8E3240987}" type="datetime'''4''''''''''4,''''''''''2''''''''''''''''''''''''9''9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44,299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C63553BA-5AD4-4EFF-B3EE-5AB795E2C173}" type="datetime'''''''''''''''''5''''''''''''''''''8.''''''''''''''4''''%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58.4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22" name="Text Placeholder 18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66373" y="3927872"/>
            <a:ext cx="435769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D4CF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D03D305-499E-46E3-9388-D80F785A2B59}" type="datetime'''''''3''''2'''''''''''''''''''''''''',''''''4''''44''''''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32,444</a:t>
            </a:fld>
            <a:r>
              <a:rPr lang="en-US" altLang="en-US" sz="750"/>
              <a:t/>
            </a:r>
            <a:br>
              <a:rPr lang="en-US" altLang="en-US" sz="750"/>
            </a:br>
            <a:r>
              <a:rPr lang="en-US" altLang="en-US" sz="750"/>
              <a:t>(</a:t>
            </a:r>
            <a:fld id="{7F1FDD65-A0B8-44C4-AC6D-B66BF7883E90}" type="datetime'''''''''4''2''''''''''''''''''''''''''''''.8''''''''''''%'''">
              <a:rPr lang="en-US" altLang="en-US" sz="750"/>
              <a:pPr algn="ctr">
                <a:spcBef>
                  <a:spcPct val="0"/>
                </a:spcBef>
                <a:spcAft>
                  <a:spcPct val="0"/>
                </a:spcAft>
              </a:pPr>
              <a:t>42.8%</a:t>
            </a:fld>
            <a:r>
              <a:rPr lang="en-US" altLang="en-US" sz="750"/>
              <a:t>)</a:t>
            </a:r>
            <a:endParaRPr lang="en-US" sz="750" dirty="0">
              <a:sym typeface="+mn-lt"/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98519" y="4718448"/>
            <a:ext cx="372666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C38441-3306-4896-8123-748894DF38AC}" type="datetime'''''''''''''''''''''''''''2''''03''0'''' 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2030 </a:t>
            </a:fld>
            <a:endParaRPr lang="en-US" sz="900" b="1" dirty="0">
              <a:sym typeface="+mn-lt"/>
            </a:endParaRPr>
          </a:p>
        </p:txBody>
      </p:sp>
      <p:sp>
        <p:nvSpPr>
          <p:cNvPr id="24" name="Text Placeholder 1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516857" y="2384823"/>
            <a:ext cx="48458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4F951A-F14F-4D71-ABB6-C3A5A27A72DD}" type="datetime'''''''''''8''''5,7''''''''''''''''''''6''''''''''5''''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85,765</a:t>
            </a:fld>
            <a:endParaRPr lang="en-US" sz="900" b="1" dirty="0">
              <a:sym typeface="+mn-lt"/>
            </a:endParaRPr>
          </a:p>
        </p:txBody>
      </p:sp>
      <p:sp>
        <p:nvSpPr>
          <p:cNvPr id="25" name="Text Placeholder 1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142560" y="2549129"/>
            <a:ext cx="48458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3B76680-E6CA-4CD1-9985-8FBA846AC2AA}" type="datetime'7''5'''',''''8''''''''''''''4''''''''''''''''3'''''''''''''''">
              <a:rPr lang="en-US" altLang="en-US" sz="900" b="1"/>
              <a:pPr algn="ctr">
                <a:spcBef>
                  <a:spcPct val="0"/>
                </a:spcBef>
                <a:spcAft>
                  <a:spcPct val="0"/>
                </a:spcAft>
              </a:pPr>
              <a:t>75,843</a:t>
            </a:fld>
            <a:endParaRPr lang="en-US" sz="900" b="1" dirty="0">
              <a:sym typeface="+mn-lt"/>
            </a:endParaRPr>
          </a:p>
        </p:txBody>
      </p:sp>
      <p:sp>
        <p:nvSpPr>
          <p:cNvPr id="26" name="Rectangle 25"/>
          <p:cNvSpPr/>
          <p:nvPr>
            <p:custDataLst>
              <p:tags r:id="rId23"/>
            </p:custDataLst>
          </p:nvPr>
        </p:nvSpPr>
        <p:spPr bwMode="auto">
          <a:xfrm>
            <a:off x="2413157" y="5195887"/>
            <a:ext cx="160735" cy="120254"/>
          </a:xfrm>
          <a:prstGeom prst="rect">
            <a:avLst/>
          </a:prstGeom>
          <a:solidFill>
            <a:srgbClr val="6FC2B4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24"/>
            </p:custDataLst>
          </p:nvPr>
        </p:nvSpPr>
        <p:spPr bwMode="auto">
          <a:xfrm>
            <a:off x="397669" y="5020866"/>
            <a:ext cx="160735" cy="120253"/>
          </a:xfrm>
          <a:prstGeom prst="rect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25"/>
            </p:custDataLst>
          </p:nvPr>
        </p:nvSpPr>
        <p:spPr bwMode="auto">
          <a:xfrm>
            <a:off x="397669" y="5195887"/>
            <a:ext cx="160735" cy="120254"/>
          </a:xfrm>
          <a:prstGeom prst="rect">
            <a:avLst/>
          </a:prstGeom>
          <a:solidFill>
            <a:srgbClr val="DDEFE8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26"/>
            </p:custDataLst>
          </p:nvPr>
        </p:nvSpPr>
        <p:spPr bwMode="auto">
          <a:xfrm>
            <a:off x="2413157" y="5020866"/>
            <a:ext cx="160735" cy="120254"/>
          </a:xfrm>
          <a:prstGeom prst="rect">
            <a:avLst/>
          </a:prstGeom>
          <a:solidFill>
            <a:srgbClr val="9DD4CF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>
            <p:custDataLst>
              <p:tags r:id="rId27"/>
            </p:custDataLst>
          </p:nvPr>
        </p:nvSpPr>
        <p:spPr bwMode="auto">
          <a:xfrm>
            <a:off x="4326491" y="5020866"/>
            <a:ext cx="160735" cy="120254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1" name="Text Placeholder 18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96505" y="5017294"/>
            <a:ext cx="3405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bg-BG" altLang="en-US" sz="900" dirty="0"/>
              <a:t>Твърди горива</a:t>
            </a:r>
            <a:endParaRPr lang="en-US" sz="900" dirty="0">
              <a:sym typeface="+mn-lt"/>
            </a:endParaRPr>
          </a:p>
        </p:txBody>
      </p:sp>
      <p:sp>
        <p:nvSpPr>
          <p:cNvPr id="32" name="Text Placeholder 18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611991" y="5192317"/>
            <a:ext cx="559594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bg-BG" altLang="en-US" sz="900" dirty="0"/>
              <a:t>Ел. енергия</a:t>
            </a:r>
            <a:endParaRPr lang="en-US" sz="900" dirty="0">
              <a:sym typeface="+mn-lt"/>
            </a:endParaRPr>
          </a:p>
        </p:txBody>
      </p:sp>
      <p:sp>
        <p:nvSpPr>
          <p:cNvPr id="33" name="Text Placeholder 1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96504" y="5192317"/>
            <a:ext cx="15240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bg-BG" sz="900" dirty="0">
                <a:sym typeface="+mn-lt"/>
              </a:rPr>
              <a:t>Нефт и нефтопродукти </a:t>
            </a:r>
            <a:endParaRPr lang="en-US" sz="900" dirty="0">
              <a:sym typeface="+mn-lt"/>
            </a:endParaRPr>
          </a:p>
        </p:txBody>
      </p:sp>
      <p:sp>
        <p:nvSpPr>
          <p:cNvPr id="34" name="Text Placeholder 18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25325" y="5017294"/>
            <a:ext cx="99060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bg-BG" altLang="en-US" sz="900" dirty="0"/>
              <a:t>Биомаса</a:t>
            </a:r>
            <a:endParaRPr lang="en-US" sz="900" dirty="0">
              <a:sym typeface="+mn-lt"/>
            </a:endParaRPr>
          </a:p>
        </p:txBody>
      </p:sp>
      <p:sp>
        <p:nvSpPr>
          <p:cNvPr id="35" name="Text Placeholder 18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611991" y="5017294"/>
            <a:ext cx="67627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bg-BG" altLang="en-US" sz="900" dirty="0"/>
              <a:t>Природен газ</a:t>
            </a:r>
            <a:endParaRPr lang="en-US" sz="9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362961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52425" y="736689"/>
            <a:ext cx="8439150" cy="299631"/>
          </a:xfrm>
        </p:spPr>
        <p:txBody>
          <a:bodyPr/>
          <a:lstStyle/>
          <a:p>
            <a:r>
              <a:rPr lang="bg-BG" dirty="0"/>
              <a:t>Основни цели, мерки и политики </a:t>
            </a:r>
            <a:endParaRPr lang="en-US" dirty="0"/>
          </a:p>
          <a:p>
            <a:pPr marL="152400" lvl="0" indent="-152400" defTabSz="914400">
              <a:spcBef>
                <a:spcPts val="450"/>
              </a:spcBef>
              <a:spcAft>
                <a:spcPts val="0"/>
              </a:spcAft>
              <a:buFont typeface="Arial"/>
              <a:buChar char="•"/>
            </a:pPr>
            <a:r>
              <a:rPr lang="bg-BG" sz="1050" b="1" dirty="0" smtClean="0">
                <a:solidFill>
                  <a:schemeClr val="accent4"/>
                </a:solidFill>
              </a:rPr>
              <a:t>Цели: </a:t>
            </a:r>
          </a:p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bg-BG" sz="10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вишаване 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електроенергийната </a:t>
            </a:r>
            <a:r>
              <a:rPr lang="bg-BG" sz="1000" dirty="0" err="1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системна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вързаност;</a:t>
            </a:r>
            <a:endParaRPr lang="bg-BG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 на пазара на природен газ чрез диверсификация на източниците и маршрутите на доставките на природен газ и създаване на функционираща и ликвидна газова борса;</a:t>
            </a:r>
            <a:endParaRPr lang="bg-BG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ълно либерализиране на пазара на електрическата енергия.</a:t>
            </a:r>
            <a:endParaRPr lang="bg-BG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defTabSz="914400">
              <a:spcBef>
                <a:spcPts val="450"/>
              </a:spcBef>
              <a:spcAft>
                <a:spcPts val="0"/>
              </a:spcAft>
            </a:pPr>
            <a:endParaRPr lang="bg-BG" sz="1050" b="1" dirty="0" smtClean="0">
              <a:solidFill>
                <a:srgbClr val="86BC25"/>
              </a:solidFill>
            </a:endParaRPr>
          </a:p>
          <a:p>
            <a:pPr marL="152400" lvl="0" indent="-152400" defTabSz="914400">
              <a:spcBef>
                <a:spcPts val="450"/>
              </a:spcBef>
              <a:spcAft>
                <a:spcPts val="0"/>
              </a:spcAft>
              <a:buFont typeface="Arial"/>
              <a:buChar char="•"/>
            </a:pPr>
            <a:r>
              <a:rPr lang="bg-BG" sz="1050" b="1" dirty="0">
                <a:solidFill>
                  <a:schemeClr val="accent4"/>
                </a:solidFill>
              </a:rPr>
              <a:t>М</a:t>
            </a:r>
            <a:r>
              <a:rPr lang="bg-BG" sz="1050" b="1" dirty="0" smtClean="0">
                <a:solidFill>
                  <a:schemeClr val="accent4"/>
                </a:solidFill>
              </a:rPr>
              <a:t>ерки </a:t>
            </a:r>
            <a:r>
              <a:rPr lang="bg-BG" sz="1050" b="1" dirty="0">
                <a:solidFill>
                  <a:schemeClr val="accent4"/>
                </a:solidFill>
              </a:rPr>
              <a:t>и политики: </a:t>
            </a:r>
          </a:p>
          <a:p>
            <a:endParaRPr lang="bg-BG" sz="1050" b="1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bg-BG" sz="1050" b="1" dirty="0" err="1" smtClean="0"/>
              <a:t>Междусистемна</a:t>
            </a:r>
            <a:r>
              <a:rPr lang="bg-BG" sz="1050" b="1" dirty="0" smtClean="0"/>
              <a:t> електроенергийна </a:t>
            </a:r>
            <a:r>
              <a:rPr lang="bg-BG" sz="1050" b="1" dirty="0"/>
              <a:t>свързаност от поне 15 %:</a:t>
            </a:r>
            <a:endParaRPr lang="bg-BG" sz="1050" dirty="0"/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граждане на нови </a:t>
            </a:r>
            <a:r>
              <a:rPr lang="bg-BG" sz="1000" dirty="0" err="1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системни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вътрешни електропроводи;</a:t>
            </a:r>
          </a:p>
          <a:p>
            <a:pPr lvl="0"/>
            <a:r>
              <a:rPr lang="bg-BG" sz="10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дернизация 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електропреносната </a:t>
            </a:r>
            <a:r>
              <a:rPr lang="bg-BG" sz="10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режи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bg-BG" sz="1050" b="1" dirty="0"/>
              <a:t>Напълно функциониращ вътрешен </a:t>
            </a:r>
            <a:r>
              <a:rPr lang="bg-BG" sz="1050" b="1" dirty="0" smtClean="0"/>
              <a:t>енергиен </a:t>
            </a:r>
            <a:r>
              <a:rPr lang="bg-BG" sz="1050" b="1" dirty="0"/>
              <a:t>пазар: </a:t>
            </a:r>
            <a:endParaRPr lang="bg-BG" sz="1050" dirty="0"/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вързване на пазарите посредством разширяване и модернизиране на съществуващите  и изграждане на нови </a:t>
            </a:r>
            <a:r>
              <a:rPr lang="bg-BG" sz="1000" dirty="0" err="1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системни</a:t>
            </a:r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ръзки; изпълнение и обновяване на списъка с проекти от общоевропейски интерес;</a:t>
            </a:r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ширяване на регионалното сътрудничество;</a:t>
            </a:r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ълна либерализация на пазара на дребно на електрическа енергия с поетапно премахване на регулираните цени за всички крайни клиенти и механизъм за защита на уязвимите клиенти;</a:t>
            </a:r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 на пазара на природен газ чрез диверсификация на източниците, създаване на газова борса;</a:t>
            </a:r>
          </a:p>
          <a:p>
            <a:pPr lvl="0"/>
            <a:r>
              <a:rPr lang="bg-BG" sz="10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ханизъм за защита на уязвимите клиенти.</a:t>
            </a:r>
          </a:p>
          <a:p>
            <a:pPr lvl="0" defTabSz="914400">
              <a:spcBef>
                <a:spcPts val="450"/>
              </a:spcBef>
              <a:spcAft>
                <a:spcPts val="0"/>
              </a:spcAft>
            </a:pPr>
            <a:endParaRPr lang="bg-BG" sz="1050" b="1" dirty="0">
              <a:solidFill>
                <a:srgbClr val="86BC25"/>
              </a:solidFill>
            </a:endParaRPr>
          </a:p>
          <a:p>
            <a:endParaRPr lang="bg-BG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Вътрешен енергиен пазар</a:t>
            </a:r>
          </a:p>
        </p:txBody>
      </p:sp>
    </p:spTree>
    <p:extLst>
      <p:ext uri="{BB962C8B-B14F-4D97-AF65-F5344CB8AC3E}">
        <p14:creationId xmlns:p14="http://schemas.microsoft.com/office/powerpoint/2010/main" val="353268820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Цели и изпълнение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Вътрешен енергиен пазар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231558"/>
            <a:ext cx="2105024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000" dirty="0">
                <a:solidFill>
                  <a:schemeClr val="bg1"/>
                </a:solidFill>
              </a:rPr>
              <a:t>Европейска цел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457451" y="1231558"/>
            <a:ext cx="2019299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000" dirty="0">
                <a:solidFill>
                  <a:schemeClr val="bg1"/>
                </a:solidFill>
              </a:rPr>
              <a:t>Коментар на Комисията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4476750" y="1231558"/>
            <a:ext cx="1964721" cy="440871"/>
          </a:xfrm>
          <a:prstGeom prst="chevron">
            <a:avLst/>
          </a:prstGeom>
          <a:solidFill>
            <a:srgbClr val="9DD4C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000" dirty="0" err="1">
                <a:solidFill>
                  <a:schemeClr val="accent4"/>
                </a:solidFill>
              </a:rPr>
              <a:t>НПЕК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6441471" y="1231558"/>
            <a:ext cx="2131029" cy="440871"/>
          </a:xfrm>
          <a:prstGeom prst="chevron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000" dirty="0">
                <a:solidFill>
                  <a:schemeClr val="bg1"/>
                </a:solidFill>
              </a:rPr>
              <a:t>Политики и мерки</a:t>
            </a:r>
            <a:endParaRPr lang="en-US" sz="10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089616"/>
              </p:ext>
            </p:extLst>
          </p:nvPr>
        </p:nvGraphicFramePr>
        <p:xfrm>
          <a:off x="352425" y="1756079"/>
          <a:ext cx="8220076" cy="4495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5019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768124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2231020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2165913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120586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% </a:t>
                      </a:r>
                      <a:r>
                        <a:rPr lang="bg-BG" sz="9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междусистемна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електроенергийна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вързаност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ългария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а потвърди своята цел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Минимална цел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– 15%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егашно състояние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6.2% за износ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3,2% за внос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съществяване на Проектите от общ интерес:</a:t>
                      </a:r>
                    </a:p>
                    <a:p>
                      <a:pPr marL="781035" marR="0" lvl="1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о 22% свързаност</a:t>
                      </a:r>
                    </a:p>
                    <a:p>
                      <a:pPr marL="781035" marR="0" lvl="1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иоритет – север-юг</a:t>
                      </a:r>
                      <a:endParaRPr lang="en-US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7477846"/>
                  </a:ext>
                </a:extLst>
              </a:tr>
              <a:tr h="994410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Интеграция на пазарите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щи и конкретни цели за интеграция на пазара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азарни цени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емахване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препятствия пред </a:t>
                      </a:r>
                      <a:r>
                        <a:rPr lang="bg-BG" sz="9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резграничната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търговия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ълна либерализация на пазара на ел. енергия към 2025 г.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единяване със съседни пазар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емахване на цени пренос и достъп за износ – 2019 г.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891585"/>
                  </a:ext>
                </a:extLst>
              </a:tr>
              <a:tr h="89725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ироден газ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иверсификация на източниците и маршрутите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ъпрос предимно на енергийна сигурност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Либерализация на пазара – газова борса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Интерконектори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GB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BS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BR</a:t>
                      </a: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ширение</a:t>
                      </a:r>
                      <a:r>
                        <a:rPr lang="bg-BG" sz="9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газопреносната инфраструктура на територията на страната от турско-българска до българо-сръбска граница.</a:t>
                      </a:r>
                      <a:endParaRPr lang="bg-BG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NG</a:t>
                      </a:r>
                      <a:endParaRPr lang="bg-BG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bg-BG" sz="900" b="0" i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оекти за търсене</a:t>
                      </a:r>
                      <a:r>
                        <a:rPr lang="bg-BG" sz="900" b="0" i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и проучване на нефт и газ – Черно море</a:t>
                      </a:r>
                      <a:endParaRPr lang="bg-BG" sz="900" b="0" i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0359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073454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/>
              <a:t>Европейски и национални </a:t>
            </a:r>
            <a:r>
              <a:rPr lang="bg-BG" dirty="0" smtClean="0"/>
              <a:t>цели до 2030 г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err="1"/>
              <a:t>ВЕИ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 bwMode="gray">
          <a:xfrm>
            <a:off x="365695" y="2142207"/>
            <a:ext cx="2758680" cy="617220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050" dirty="0">
                <a:solidFill>
                  <a:schemeClr val="accent4"/>
                </a:solidFill>
              </a:rPr>
              <a:t>Общоевропейски цели</a:t>
            </a:r>
            <a:endParaRPr lang="en-US" sz="1050" dirty="0">
              <a:solidFill>
                <a:schemeClr val="accent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67092" y="2346942"/>
            <a:ext cx="676467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≥ 32%</a:t>
            </a:r>
            <a:endParaRPr lang="en-US" sz="1350" b="1" dirty="0">
              <a:solidFill>
                <a:srgbClr val="313131"/>
              </a:solidFill>
            </a:endParaRPr>
          </a:p>
        </p:txBody>
      </p:sp>
      <p:sp>
        <p:nvSpPr>
          <p:cNvPr id="7" name="Pentagon 6"/>
          <p:cNvSpPr/>
          <p:nvPr/>
        </p:nvSpPr>
        <p:spPr bwMode="gray">
          <a:xfrm>
            <a:off x="365695" y="3351882"/>
            <a:ext cx="2758680" cy="61722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050" dirty="0"/>
              <a:t>Препоръка към България на Европейската комисия </a:t>
            </a:r>
            <a:endParaRPr lang="en-US" sz="1050" dirty="0"/>
          </a:p>
        </p:txBody>
      </p:sp>
      <p:sp>
        <p:nvSpPr>
          <p:cNvPr id="8" name="TextBox 7"/>
          <p:cNvSpPr txBox="1"/>
          <p:nvPr/>
        </p:nvSpPr>
        <p:spPr>
          <a:xfrm>
            <a:off x="3767092" y="3372886"/>
            <a:ext cx="5107167" cy="4796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≥ 27% общо</a:t>
            </a:r>
          </a:p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Да се повиши амбициозността във всички сектори</a:t>
            </a:r>
            <a:endParaRPr lang="en-US" sz="1350" b="1" dirty="0">
              <a:solidFill>
                <a:srgbClr val="313131"/>
              </a:solidFill>
            </a:endParaRPr>
          </a:p>
        </p:txBody>
      </p:sp>
      <p:sp>
        <p:nvSpPr>
          <p:cNvPr id="9" name="Pentagon 8"/>
          <p:cNvSpPr/>
          <p:nvPr/>
        </p:nvSpPr>
        <p:spPr bwMode="gray">
          <a:xfrm>
            <a:off x="365695" y="4561557"/>
            <a:ext cx="2758680" cy="61722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050" dirty="0"/>
              <a:t>Модел </a:t>
            </a:r>
            <a:r>
              <a:rPr lang="bg-BG" sz="1050" dirty="0" err="1"/>
              <a:t>НПЕК</a:t>
            </a:r>
            <a:r>
              <a:rPr lang="bg-BG" sz="1050" dirty="0"/>
              <a:t> България</a:t>
            </a:r>
            <a:endParaRPr lang="en-US" sz="1050" dirty="0"/>
          </a:p>
        </p:txBody>
      </p:sp>
      <p:sp>
        <p:nvSpPr>
          <p:cNvPr id="10" name="TextBox 9"/>
          <p:cNvSpPr txBox="1"/>
          <p:nvPr/>
        </p:nvSpPr>
        <p:spPr>
          <a:xfrm>
            <a:off x="3767092" y="4789376"/>
            <a:ext cx="676467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>
                <a:solidFill>
                  <a:srgbClr val="313131"/>
                </a:solidFill>
              </a:rPr>
              <a:t>≥ 27%</a:t>
            </a:r>
            <a:endParaRPr lang="en-US" sz="135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3355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1"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857250"/>
            <a:ext cx="119063" cy="11906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endParaRPr lang="en-US" sz="900" b="1" dirty="0">
              <a:solidFill>
                <a:prstClr val="white"/>
              </a:solidFill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auto">
          <a:xfrm flipV="1">
            <a:off x="352425" y="4724400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auto">
          <a:xfrm flipV="1">
            <a:off x="1949054" y="4724400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6"/>
            </p:custDataLst>
          </p:nvPr>
        </p:nvCxnSpPr>
        <p:spPr bwMode="auto">
          <a:xfrm flipV="1">
            <a:off x="8337947" y="4724400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5" name="Chart 74"/>
          <p:cNvGraphicFramePr/>
          <p:nvPr>
            <p:custDataLst>
              <p:tags r:id="rId7"/>
            </p:custDataLst>
            <p:extLst/>
          </p:nvPr>
        </p:nvGraphicFramePr>
        <p:xfrm>
          <a:off x="290513" y="2519363"/>
          <a:ext cx="8109347" cy="226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64" name="Text Placeholder 1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1449" y="4800601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09CDB1F9-28C4-4E4D-BC1A-110C869344FA}" type="datetime'2''''''''''0''''''''''''''''''''''''''2''''0 ''''''''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20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9" name="Text Placeholder 1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56972" y="4800601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6A742F25-9DAF-4A8B-B29F-CEF51185E1D7}" type="datetime'''''''''''''''''''''''''2''0''''''''3''''0'''' ''''''''''''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30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5" name="Text Placeholder 1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68078" y="4800601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19EE4AAE-A118-4D4C-B314-9972B4007303}" type="datetime'''''''''''''20''''''''''''''''''''''2''''''2'''''''''' ''''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22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8" name="Text Placeholder 1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7385" y="3334942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fld id="{506536B7-A1F3-4B30-BCA5-A07DD2B88CEE}" type="datetime'19''''''''''''.''''''''5''''''''''6''''''''%'''''''''''''''">
              <a:rPr lang="en-US" altLang="en-US" sz="900">
                <a:solidFill>
                  <a:prstClr val="black"/>
                </a:solidFill>
                <a:latin typeface="Verdana"/>
              </a:rPr>
              <a:pPr defTabSz="914378">
                <a:spcBef>
                  <a:spcPct val="0"/>
                </a:spcBef>
                <a:spcAft>
                  <a:spcPct val="0"/>
                </a:spcAft>
                <a:defRPr/>
              </a:pPr>
              <a:t>19.56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8" name="Text Placeholder 1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95950" y="2718198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4BF17DC1-FF95-4F03-A916-3E65A5A0ABA2}" type="datetime'2''5''''.''''''''''''''''0''''''''''''''8''''''''''''''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5.0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6" name="Text Placeholder 1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02594" y="317420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D423D8BC-F8AE-4F05-BBB7-DC4AF9FC4EEE}" type="datetime'''''''''2''''1.2''''''''5%''''''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1.2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4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1000" y="4083844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560986A4-5BDB-48F6-8142-3285F155887D}" type="datetime'''''''''''16''.00%'''''''''">
              <a:rPr lang="en-US" altLang="en-US" sz="900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6.00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41" name="Text Placeholder 1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702594" y="3848101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9208F2F2-BB43-4F38-BC64-35940B72E006}" type="datetime'17''.9''''''''8''''''''%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7.9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" name="Text Placeholder 1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099323" y="2870598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7570C7DA-868F-4D56-8377-741839E11C07}" type="datetime'''''''''''2''3''''.''''''''''''''''8''0''''%''''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3.80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43" name="Text Placeholder 18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099323" y="3520679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63CD6C18-636F-4EBB-A34F-C58514CF9305}" type="datetime'''''''''''''''''''''''''''2''''0.''''7''3''''%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.73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45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95950" y="3232548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D62929FE-753F-4690-AC72-0E6B2520BA88}" type="datetime'2''''3''''''''''''''''''''''.1''''''''''''''''5''''''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3.1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0" name="Text Placeholder 18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012907" y="244911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fld id="{62A2F4E1-E541-478D-B6AB-26680738C435}" type="datetime'''27''''''''.''''''''''0''''0%'">
              <a:rPr lang="en-US" altLang="en-US" sz="900">
                <a:solidFill>
                  <a:prstClr val="black"/>
                </a:solidFill>
                <a:latin typeface="Verdana"/>
              </a:rPr>
              <a:pPr defTabSz="914378">
                <a:spcBef>
                  <a:spcPct val="0"/>
                </a:spcBef>
                <a:spcAft>
                  <a:spcPct val="0"/>
                </a:spcAft>
                <a:defRPr/>
              </a:pPr>
              <a:t>27.00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cxnSp>
        <p:nvCxnSpPr>
          <p:cNvPr id="2" name="Straight Connector 1"/>
          <p:cNvCxnSpPr/>
          <p:nvPr>
            <p:custDataLst>
              <p:tags r:id="rId20"/>
            </p:custDataLst>
          </p:nvPr>
        </p:nvCxnSpPr>
        <p:spPr bwMode="gray">
          <a:xfrm>
            <a:off x="413148" y="5155406"/>
            <a:ext cx="192881" cy="0"/>
          </a:xfrm>
          <a:prstGeom prst="line">
            <a:avLst/>
          </a:prstGeom>
          <a:ln w="28575" cap="rnd" cmpd="sng" algn="ctr">
            <a:solidFill>
              <a:srgbClr val="9DD4C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1"/>
            </p:custDataLst>
          </p:nvPr>
        </p:nvCxnSpPr>
        <p:spPr bwMode="grayWhite">
          <a:xfrm>
            <a:off x="5512458" y="5155406"/>
            <a:ext cx="192881" cy="0"/>
          </a:xfrm>
          <a:prstGeom prst="line">
            <a:avLst/>
          </a:prstGeom>
          <a:ln w="2857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>
            <p:custDataLst>
              <p:tags r:id="rId22"/>
            </p:custDataLst>
          </p:nvPr>
        </p:nvSpPr>
        <p:spPr bwMode="auto">
          <a:xfrm>
            <a:off x="481013" y="5126831"/>
            <a:ext cx="57150" cy="57150"/>
          </a:xfrm>
          <a:prstGeom prst="ellipse">
            <a:avLst/>
          </a:prstGeom>
          <a:solidFill>
            <a:srgbClr val="9DD4CF"/>
          </a:solidFill>
          <a:ln w="9525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en-US" sz="12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7" name="Isosceles Triangle 6"/>
          <p:cNvSpPr/>
          <p:nvPr>
            <p:custDataLst>
              <p:tags r:id="rId23"/>
            </p:custDataLst>
          </p:nvPr>
        </p:nvSpPr>
        <p:spPr bwMode="auto">
          <a:xfrm>
            <a:off x="5580323" y="5126831"/>
            <a:ext cx="57150" cy="57150"/>
          </a:xfrm>
          <a:prstGeom prst="triangle">
            <a:avLst/>
          </a:prstGeom>
          <a:solidFill>
            <a:srgbClr val="86BC25"/>
          </a:solidFill>
          <a:ln w="9525" algn="ctr">
            <a:solidFill>
              <a:srgbClr val="86BC25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en-US" sz="12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2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60798" y="5092304"/>
            <a:ext cx="151328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r>
              <a:rPr lang="bg-BG" altLang="en-US" sz="900" dirty="0">
                <a:solidFill>
                  <a:prstClr val="black"/>
                </a:solidFill>
                <a:latin typeface="Verdana"/>
                <a:sym typeface="+mn-lt"/>
              </a:rPr>
              <a:t>Дял на енергията от ВИ в брутното крайно потребление на енергия</a:t>
            </a:r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91" name="Text Placeholder 1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760107" y="5092304"/>
            <a:ext cx="151447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r>
              <a:rPr lang="bg-BG" altLang="en-US" sz="900" dirty="0">
                <a:solidFill>
                  <a:prstClr val="black"/>
                </a:solidFill>
                <a:latin typeface="Verdana"/>
                <a:sym typeface="+mn-lt"/>
              </a:rPr>
              <a:t>Общо дял </a:t>
            </a:r>
            <a:r>
              <a:rPr lang="bg-BG" altLang="en-US" sz="900" dirty="0" err="1">
                <a:solidFill>
                  <a:prstClr val="black"/>
                </a:solidFill>
                <a:latin typeface="Verdana"/>
                <a:sym typeface="+mn-lt"/>
              </a:rPr>
              <a:t>ВЕИ</a:t>
            </a:r>
            <a:r>
              <a:rPr lang="bg-BG" altLang="en-US" sz="900" dirty="0">
                <a:solidFill>
                  <a:prstClr val="black"/>
                </a:solidFill>
                <a:latin typeface="Verdana"/>
                <a:sym typeface="+mn-lt"/>
              </a:rPr>
              <a:t> – Изискване на ЕК</a:t>
            </a:r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47260" y="4800397"/>
            <a:ext cx="39704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>
              <a:spcBef>
                <a:spcPts val="450"/>
              </a:spcBef>
              <a:buSzPct val="100000"/>
              <a:defRPr/>
            </a:pPr>
            <a:r>
              <a:rPr lang="en-US" sz="900" b="1" dirty="0">
                <a:solidFill>
                  <a:srgbClr val="313131"/>
                </a:solidFill>
                <a:latin typeface="Verdana"/>
              </a:rPr>
              <a:t>2025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5743888" y="4800397"/>
            <a:ext cx="39704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>
              <a:spcBef>
                <a:spcPts val="450"/>
              </a:spcBef>
              <a:buSzPct val="100000"/>
              <a:defRPr/>
            </a:pPr>
            <a:r>
              <a:rPr lang="en-US" sz="900" b="1" dirty="0">
                <a:solidFill>
                  <a:srgbClr val="313131"/>
                </a:solidFill>
                <a:latin typeface="Verdana"/>
              </a:rPr>
              <a:t>2027</a:t>
            </a:r>
          </a:p>
        </p:txBody>
      </p:sp>
      <p:sp>
        <p:nvSpPr>
          <p:cNvPr id="32" name="Title 2"/>
          <p:cNvSpPr>
            <a:spLocks noGrp="1"/>
          </p:cNvSpPr>
          <p:nvPr>
            <p:ph type="title"/>
          </p:nvPr>
        </p:nvSpPr>
        <p:spPr>
          <a:xfrm>
            <a:off x="352425" y="851944"/>
            <a:ext cx="8391525" cy="250576"/>
          </a:xfrm>
        </p:spPr>
        <p:txBody>
          <a:bodyPr/>
          <a:lstStyle/>
          <a:p>
            <a:pPr lvl="0">
              <a:spcAft>
                <a:spcPct val="0"/>
              </a:spcAft>
              <a:defRPr/>
            </a:pPr>
            <a:r>
              <a:rPr lang="bg-BG" altLang="en-US" dirty="0">
                <a:solidFill>
                  <a:prstClr val="black"/>
                </a:solidFill>
                <a:sym typeface="+mn-lt"/>
              </a:rPr>
              <a:t>Дял на енергията от ВИ в брутното крайно потребление на </a:t>
            </a:r>
            <a:r>
              <a:rPr lang="bg-BG" altLang="en-US" dirty="0" smtClean="0">
                <a:solidFill>
                  <a:prstClr val="black"/>
                </a:solidFill>
                <a:sym typeface="+mn-lt"/>
              </a:rPr>
              <a:t>енергия (%)</a:t>
            </a:r>
            <a:endParaRPr lang="en-US" dirty="0">
              <a:solidFill>
                <a:srgbClr val="FF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6422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2"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857250"/>
            <a:ext cx="119063" cy="119063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>
              <a:solidFill>
                <a:prstClr val="white"/>
              </a:solidFill>
              <a:latin typeface="Verdana"/>
              <a:sym typeface="+mn-lt"/>
            </a:endParaRPr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auto">
          <a:xfrm flipV="1">
            <a:off x="352425" y="4645819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5"/>
            </p:custDataLst>
          </p:nvPr>
        </p:nvCxnSpPr>
        <p:spPr bwMode="auto">
          <a:xfrm flipV="1">
            <a:off x="1949054" y="4645819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6"/>
            </p:custDataLst>
          </p:nvPr>
        </p:nvCxnSpPr>
        <p:spPr bwMode="auto">
          <a:xfrm flipV="1">
            <a:off x="8337947" y="4645819"/>
            <a:ext cx="0" cy="38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0" name="Chart 79"/>
          <p:cNvGraphicFramePr/>
          <p:nvPr>
            <p:custDataLst>
              <p:tags r:id="rId7"/>
            </p:custDataLst>
            <p:extLst/>
          </p:nvPr>
        </p:nvGraphicFramePr>
        <p:xfrm>
          <a:off x="290513" y="2440781"/>
          <a:ext cx="8109347" cy="226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6" name="Text Placeholder 1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68079" y="4722019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FB1F62CC-BCA3-4D74-9709-34EB47A4477B}" type="datetime'2''''''''''0''''''''''''''2''2'''''''''''''''' 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22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0" name="Text Placeholder 1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56972" y="4722019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419961C0-448A-45F4-BA81-A19BB1437C6D}" type="datetime'2''''''''''''''''''''0''''''''''''''30'''''''''''''' ''''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30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55" name="Text Placeholder 1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71450" y="4722019"/>
            <a:ext cx="36314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5C4C0B20-3085-4CF3-9B09-49C1E24CC8B5}" type="datetime'''''''''''''202''''''''0'''''' '''''''''''''''">
              <a:rPr lang="en-US" altLang="en-US" sz="900" b="1">
                <a:solidFill>
                  <a:prstClr val="black"/>
                </a:solidFill>
                <a:latin typeface="Verdana"/>
                <a:sym typeface="+mn-lt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020 </a:t>
            </a:fld>
            <a:endParaRPr lang="en-US" sz="900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0" name="Text Placeholder 1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81000" y="4011217"/>
            <a:ext cx="42029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52DBBE12-1B86-4446-BFA9-125AE4C33F56}" type="datetime'''''''''''''''''''''''''9''.''8''''8%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9.8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8" name="Text Placeholder 1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1000" y="309800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98AEBAFD-8B5F-435B-B322-75A4B73FFA00}" type="datetime'3''1''''''''.''''''''''''''''''20''''''''''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31.20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70" name="Text Placeholder 1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702594" y="3604023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6B09A680-6562-412B-8E3A-7C533FEE7CF4}" type="datetime'''''''''''''''''''''''''1''''''''9.''''''''3''''''8''''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9.3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099323" y="2559844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83AC09FC-8D30-4BF3-ABF2-DC9FFD609ACB}" type="datetime'4''''''''''''''''''''''''''3''''.''7''''''5''''''%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43.7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81000" y="3619501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948956A8-17AB-4CBD-AC9A-6BAFA4C22357}" type="datetime'''1''9''.''''''''0''''''''''''''4''''''''''''''''''''''''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9.04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6" name="Text Placeholder 1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702594" y="2882504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F8DF07F7-D0BC-492F-8B5B-1A5E001E6799}" type="datetime'''''''3''''''''6.''''''''''''''''''2''''''''''''''''''''''2%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36.22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8" name="Text Placeholder 18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39504" y="4011217"/>
            <a:ext cx="42029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253A07B1-C5F3-46CA-A605-F3F06671B4D5}" type="datetime'9''''''''''.''''8''''''''''''''''''8''''''''''''%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9.8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5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099323" y="3582592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4D65FA00-7BB3-4A1A-B731-2E51D5DF3CFB}" type="datetime'''''''''1''''''''''''9''.''''''8''''''8''''''''''''''''%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9.88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77" name="Text Placeholder 18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695950" y="393620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EA874874-62F1-4A70-900F-A34CD9DBE524}" type="datetime'''''''''''''''''1''''''''1.''6''''''''''5''''''''''''%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1.6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1" name="Text Placeholder 18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136231" y="4012407"/>
            <a:ext cx="420291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A8CC3794-5251-4A1D-812C-0F6612B2883C}" type="datetime'''''9''.''''''''''''''''''''8''''7%''''''''''''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9.87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73" name="Text Placeholder 1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95950" y="246816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EEA16F26-E310-44EB-9896-161B22CDF1AF}" type="datetime'4''''''''''''''''''''5.''''''''''''''''89%''''''''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45.89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75" name="Text Placeholder 1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695950" y="3468292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EF2566DF-DC9D-4DB9-B7A9-7A97607AAE1B}" type="datetime'''''''''''''2''''''2''''''''''''.55''''''''''''%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2.5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0" name="Text Placeholder 1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091488" y="2331244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01F8C2D1-85AA-4B4D-A187-959DCA3DB9C6}" type="datetime'''''''''4''9''''.09''''''''''''''''''%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49.09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6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91488" y="3581401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EB9BB422-1BDD-411E-8EF4-34C6BFDAEB96}" type="datetime'''''2''''''6''''''''.''''55''''''%''''''''''''''''''''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26.55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2" name="Text Placeholder 1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91488" y="3820717"/>
            <a:ext cx="492919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fld id="{2992A766-25E6-4E9A-B156-D5D76E807FB5}" type="datetime'''''''1''''''''''4''''.''''''''''''''''''''''''''3''2''%'''''">
              <a:rPr lang="en-US" altLang="en-US" sz="900">
                <a:solidFill>
                  <a:prstClr val="black"/>
                </a:solidFill>
                <a:latin typeface="Verdana"/>
              </a:rPr>
              <a:pPr algn="ctr" defTabSz="914378">
                <a:spcBef>
                  <a:spcPct val="0"/>
                </a:spcBef>
                <a:spcAft>
                  <a:spcPct val="0"/>
                </a:spcAft>
                <a:defRPr/>
              </a:pPr>
              <a:t>14.32%</a:t>
            </a:fld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cxnSp>
        <p:nvCxnSpPr>
          <p:cNvPr id="2" name="Straight Connector 1"/>
          <p:cNvCxnSpPr/>
          <p:nvPr>
            <p:custDataLst>
              <p:tags r:id="rId26"/>
            </p:custDataLst>
          </p:nvPr>
        </p:nvCxnSpPr>
        <p:spPr bwMode="gray">
          <a:xfrm>
            <a:off x="413148" y="5175334"/>
            <a:ext cx="192881" cy="0"/>
          </a:xfrm>
          <a:prstGeom prst="line">
            <a:avLst/>
          </a:prstGeom>
          <a:ln w="28575" cap="rnd" cmpd="sng" algn="ctr">
            <a:solidFill>
              <a:srgbClr val="9DD4C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27"/>
            </p:custDataLst>
          </p:nvPr>
        </p:nvCxnSpPr>
        <p:spPr bwMode="gray">
          <a:xfrm>
            <a:off x="4327312" y="5175334"/>
            <a:ext cx="192881" cy="0"/>
          </a:xfrm>
          <a:prstGeom prst="line">
            <a:avLst/>
          </a:prstGeom>
          <a:ln w="28575" cap="rnd" cmpd="sng" algn="ctr">
            <a:solidFill>
              <a:srgbClr val="00ABA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28"/>
            </p:custDataLst>
          </p:nvPr>
        </p:nvCxnSpPr>
        <p:spPr bwMode="gray">
          <a:xfrm>
            <a:off x="6828358" y="5175334"/>
            <a:ext cx="192881" cy="0"/>
          </a:xfrm>
          <a:prstGeom prst="line">
            <a:avLst/>
          </a:prstGeom>
          <a:ln w="28575" cap="rnd" cmpd="sng" algn="ctr">
            <a:solidFill>
              <a:srgbClr val="0076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>
            <p:custDataLst>
              <p:tags r:id="rId29"/>
            </p:custDataLst>
          </p:nvPr>
        </p:nvSpPr>
        <p:spPr bwMode="auto">
          <a:xfrm>
            <a:off x="481013" y="5138738"/>
            <a:ext cx="57150" cy="57150"/>
          </a:xfrm>
          <a:prstGeom prst="ellipse">
            <a:avLst/>
          </a:prstGeom>
          <a:solidFill>
            <a:srgbClr val="9DD4CF"/>
          </a:solidFill>
          <a:ln w="9525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en-US" sz="12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7" name="Oval 6"/>
          <p:cNvSpPr/>
          <p:nvPr>
            <p:custDataLst>
              <p:tags r:id="rId30"/>
            </p:custDataLst>
          </p:nvPr>
        </p:nvSpPr>
        <p:spPr bwMode="auto">
          <a:xfrm>
            <a:off x="4395177" y="5138738"/>
            <a:ext cx="57150" cy="57150"/>
          </a:xfrm>
          <a:prstGeom prst="ellipse">
            <a:avLst/>
          </a:prstGeom>
          <a:solidFill>
            <a:srgbClr val="00ABAB"/>
          </a:solidFill>
          <a:ln w="9525" algn="ctr">
            <a:solidFill>
              <a:srgbClr val="00ABAB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en-US" sz="12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Oval 8"/>
          <p:cNvSpPr/>
          <p:nvPr>
            <p:custDataLst>
              <p:tags r:id="rId31"/>
            </p:custDataLst>
          </p:nvPr>
        </p:nvSpPr>
        <p:spPr bwMode="auto">
          <a:xfrm>
            <a:off x="6896222" y="5138738"/>
            <a:ext cx="57150" cy="57150"/>
          </a:xfrm>
          <a:prstGeom prst="ellipse">
            <a:avLst/>
          </a:prstGeom>
          <a:solidFill>
            <a:srgbClr val="007680"/>
          </a:solidFill>
          <a:ln w="9525" algn="ctr">
            <a:solidFill>
              <a:srgbClr val="007680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en-US" sz="12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4" name="Text Placeholder 18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60797" y="5104210"/>
            <a:ext cx="1181100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r>
              <a:rPr lang="bg-BG" sz="900" dirty="0">
                <a:solidFill>
                  <a:prstClr val="black"/>
                </a:solidFill>
                <a:latin typeface="Verdana"/>
                <a:sym typeface="+mn-lt"/>
              </a:rPr>
              <a:t>Топлинна енергия и енергия за охлаждане</a:t>
            </a:r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5" name="Text Placeholder 1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74961" y="5104210"/>
            <a:ext cx="60007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r>
              <a:rPr lang="bg-BG" altLang="en-US" sz="900" dirty="0">
                <a:solidFill>
                  <a:prstClr val="black"/>
                </a:solidFill>
                <a:latin typeface="Verdana"/>
                <a:sym typeface="+mn-lt"/>
              </a:rPr>
              <a:t>Електрическа енергия</a:t>
            </a:r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1" name="Text Placeholder 18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076007" y="5104210"/>
            <a:ext cx="541735" cy="13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ct val="0"/>
              </a:spcBef>
              <a:spcAft>
                <a:spcPct val="0"/>
              </a:spcAft>
              <a:defRPr/>
            </a:pPr>
            <a:r>
              <a:rPr lang="bg-BG" altLang="en-US" sz="900" dirty="0">
                <a:solidFill>
                  <a:prstClr val="black"/>
                </a:solidFill>
                <a:latin typeface="Verdana"/>
                <a:sym typeface="+mn-lt"/>
              </a:rPr>
              <a:t>Транспорт</a:t>
            </a:r>
            <a:endParaRPr lang="en-US" sz="900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146664" y="4681164"/>
            <a:ext cx="39704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>
              <a:spcBef>
                <a:spcPts val="450"/>
              </a:spcBef>
              <a:buSzPct val="100000"/>
              <a:defRPr/>
            </a:pPr>
            <a:r>
              <a:rPr lang="en-US" sz="900" b="1" dirty="0">
                <a:solidFill>
                  <a:srgbClr val="313131"/>
                </a:solidFill>
                <a:latin typeface="Verdana"/>
              </a:rPr>
              <a:t>2025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743293" y="4681164"/>
            <a:ext cx="39704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>
              <a:spcBef>
                <a:spcPts val="450"/>
              </a:spcBef>
              <a:buSzPct val="100000"/>
              <a:defRPr/>
            </a:pPr>
            <a:r>
              <a:rPr lang="en-US" sz="900" b="1" dirty="0">
                <a:solidFill>
                  <a:srgbClr val="313131"/>
                </a:solidFill>
                <a:latin typeface="Verdana"/>
              </a:rPr>
              <a:t>2027</a:t>
            </a:r>
          </a:p>
        </p:txBody>
      </p:sp>
      <p:sp>
        <p:nvSpPr>
          <p:cNvPr id="39" name="Title 2"/>
          <p:cNvSpPr>
            <a:spLocks noGrp="1"/>
          </p:cNvSpPr>
          <p:nvPr>
            <p:ph type="title"/>
          </p:nvPr>
        </p:nvSpPr>
        <p:spPr>
          <a:xfrm>
            <a:off x="376238" y="1095375"/>
            <a:ext cx="8391525" cy="250576"/>
          </a:xfrm>
        </p:spPr>
        <p:txBody>
          <a:bodyPr/>
          <a:lstStyle/>
          <a:p>
            <a:r>
              <a:rPr lang="bg-BG" dirty="0"/>
              <a:t>Секторни цели за енергия от В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2021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bg-BG" noProof="0" dirty="0" smtClean="0">
                <a:solidFill>
                  <a:schemeClr val="accent4"/>
                </a:solidFill>
              </a:rPr>
              <a:t>ВИ – Транспорт </a:t>
            </a:r>
            <a:endParaRPr lang="en-US" noProof="0" dirty="0">
              <a:solidFill>
                <a:schemeClr val="accent4"/>
              </a:solidFill>
            </a:endParaRPr>
          </a:p>
          <a:p>
            <a:pPr lvl="3"/>
            <a:r>
              <a:rPr lang="bg-BG" noProof="0" dirty="0" smtClean="0"/>
              <a:t>Увеличаване на дела обществен електрически транспорт</a:t>
            </a:r>
          </a:p>
          <a:p>
            <a:pPr lvl="3"/>
            <a:r>
              <a:rPr lang="bg-BG" noProof="0" dirty="0" smtClean="0"/>
              <a:t>Електрически автомобили – над 66000 нови </a:t>
            </a:r>
            <a:r>
              <a:rPr lang="en-US" noProof="0" dirty="0" smtClean="0"/>
              <a:t>EV </a:t>
            </a:r>
            <a:r>
              <a:rPr lang="bg-BG" dirty="0" smtClean="0"/>
              <a:t>до 2030 г.</a:t>
            </a:r>
          </a:p>
          <a:p>
            <a:pPr lvl="3"/>
            <a:r>
              <a:rPr lang="bg-BG" dirty="0" smtClean="0"/>
              <a:t>Общински мерки:</a:t>
            </a:r>
          </a:p>
          <a:p>
            <a:pPr lvl="4"/>
            <a:r>
              <a:rPr lang="bg-BG" dirty="0" err="1" smtClean="0"/>
              <a:t>Електромобили</a:t>
            </a:r>
            <a:endParaRPr lang="bg-BG" dirty="0"/>
          </a:p>
          <a:p>
            <a:pPr lvl="4"/>
            <a:r>
              <a:rPr lang="bg-BG" dirty="0" smtClean="0"/>
              <a:t>Публичен транспорт</a:t>
            </a:r>
          </a:p>
          <a:p>
            <a:pPr lvl="3"/>
            <a:r>
              <a:rPr lang="bg-BG" dirty="0" smtClean="0"/>
              <a:t>Ново поколение </a:t>
            </a:r>
            <a:r>
              <a:rPr lang="bg-BG" dirty="0" err="1" smtClean="0"/>
              <a:t>биогорива</a:t>
            </a:r>
            <a:r>
              <a:rPr lang="bg-BG" dirty="0" smtClean="0"/>
              <a:t> – след 2025 г.</a:t>
            </a:r>
          </a:p>
          <a:p>
            <a:pPr lvl="3"/>
            <a:r>
              <a:rPr lang="bg-BG" dirty="0" smtClean="0"/>
              <a:t>Водород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bg-BG" noProof="0" dirty="0" smtClean="0">
                <a:solidFill>
                  <a:schemeClr val="accent4"/>
                </a:solidFill>
              </a:rPr>
              <a:t>ВИ – Електрическа енергия</a:t>
            </a:r>
            <a:endParaRPr lang="en-US" noProof="0" dirty="0">
              <a:solidFill>
                <a:schemeClr val="accent4"/>
              </a:solidFill>
            </a:endParaRP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dirty="0" smtClean="0"/>
              <a:t>Съществуващи мерки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noProof="0" dirty="0" smtClean="0"/>
              <a:t>Пазарен принцип за нови проекти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dirty="0" smtClean="0"/>
              <a:t>Търгове след 2025 г. при нужда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noProof="0" dirty="0" smtClean="0"/>
              <a:t>Национален план за енергия от горска биомаса – 2018 – 2027 г. (</a:t>
            </a:r>
            <a:r>
              <a:rPr lang="en-US" noProof="0" dirty="0" err="1" smtClean="0"/>
              <a:t>BIO4ECO</a:t>
            </a:r>
            <a:r>
              <a:rPr lang="en-US" noProof="0" dirty="0" smtClean="0"/>
              <a:t>)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en-US" dirty="0" smtClean="0"/>
              <a:t>One-stop shop </a:t>
            </a:r>
            <a:r>
              <a:rPr lang="bg-BG" dirty="0" smtClean="0"/>
              <a:t>за нови ВИ проекти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noProof="0" dirty="0" smtClean="0"/>
              <a:t>Енергийни общности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dirty="0" smtClean="0"/>
              <a:t>Стимулиране на производството на енергия за собствено потребление</a:t>
            </a:r>
          </a:p>
          <a:p>
            <a:pPr marL="128588" lvl="2" indent="-128588">
              <a:buFont typeface="Arial" panose="020B0604020202020204" pitchFamily="34" charset="0"/>
              <a:buChar char="•"/>
            </a:pPr>
            <a:r>
              <a:rPr lang="bg-BG" dirty="0" smtClean="0"/>
              <a:t>Използване на водород за съхранение</a:t>
            </a:r>
            <a:endParaRPr lang="en-US" noProof="0" dirty="0"/>
          </a:p>
          <a:p>
            <a:endParaRPr lang="en-US" noProof="0" dirty="0"/>
          </a:p>
          <a:p>
            <a:endParaRPr lang="en-US" noProof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>
          <a:xfrm>
            <a:off x="6069806" y="1851441"/>
            <a:ext cx="2721769" cy="3385976"/>
          </a:xfrm>
        </p:spPr>
        <p:txBody>
          <a:bodyPr/>
          <a:lstStyle/>
          <a:p>
            <a:r>
              <a:rPr lang="bg-BG" dirty="0" smtClean="0">
                <a:solidFill>
                  <a:schemeClr val="accent4"/>
                </a:solidFill>
              </a:rPr>
              <a:t>ВИ – топлинна енергия и енергия за охлаждане</a:t>
            </a:r>
            <a:endParaRPr lang="en-US" noProof="0" dirty="0">
              <a:solidFill>
                <a:schemeClr val="accent4"/>
              </a:solidFill>
            </a:endParaRPr>
          </a:p>
          <a:p>
            <a:pPr lvl="3"/>
            <a:r>
              <a:rPr lang="bg-BG" noProof="0" dirty="0" smtClean="0"/>
              <a:t>Биомаса в съществуващи и нови топлоцентрали при спазване на критериите за устойчивост</a:t>
            </a:r>
          </a:p>
          <a:p>
            <a:pPr lvl="3"/>
            <a:r>
              <a:rPr lang="bg-BG" dirty="0" smtClean="0"/>
              <a:t>Насърчаване използването на биомаса в домакинствата</a:t>
            </a:r>
          </a:p>
          <a:p>
            <a:pPr lvl="3"/>
            <a:r>
              <a:rPr lang="bg-BG" dirty="0"/>
              <a:t>Стимулиране на производството на енергия за собствено потребление</a:t>
            </a:r>
            <a:endParaRPr lang="en-US" dirty="0"/>
          </a:p>
          <a:p>
            <a:pPr lvl="3"/>
            <a:r>
              <a:rPr lang="bg-BG" dirty="0" smtClean="0"/>
              <a:t>Изискване на използване на енергия от ВИ в сгради – законодателни и финансови мерки</a:t>
            </a:r>
          </a:p>
          <a:p>
            <a:pPr lvl="3"/>
            <a:r>
              <a:rPr lang="bg-BG" dirty="0" smtClean="0"/>
              <a:t>Насърчаване на геотермална и слънчева енергия за отопление и охлаждане</a:t>
            </a:r>
          </a:p>
          <a:p>
            <a:pPr lvl="3"/>
            <a:r>
              <a:rPr lang="bg-BG" dirty="0" smtClean="0"/>
              <a:t>Насърчаване на високоефективни </a:t>
            </a:r>
            <a:r>
              <a:rPr lang="bg-BG" dirty="0" err="1" smtClean="0"/>
              <a:t>термопомпени</a:t>
            </a:r>
            <a:r>
              <a:rPr lang="bg-BG" dirty="0" smtClean="0"/>
              <a:t> инсталации</a:t>
            </a:r>
          </a:p>
          <a:p>
            <a:pPr lvl="3"/>
            <a:r>
              <a:rPr lang="bg-BG" dirty="0" smtClean="0"/>
              <a:t>Изготвяне на оценка за потенциала на енергия от ВИ и оползотворяване на отпадна топлина и студ</a:t>
            </a:r>
          </a:p>
          <a:p>
            <a:pPr lvl="3"/>
            <a:endParaRPr lang="en-US" noProof="0" dirty="0" smtClean="0"/>
          </a:p>
          <a:p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noProof="0" dirty="0" smtClean="0"/>
              <a:t>Основни мерки и политики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noProof="0" dirty="0" smtClean="0"/>
              <a:t>ВИ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33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Необходими инвестиции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В</a:t>
            </a:r>
            <a:r>
              <a:rPr lang="bg-BG" dirty="0" smtClean="0"/>
              <a:t>И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 bwMode="gray">
          <a:xfrm>
            <a:off x="365695" y="2142207"/>
            <a:ext cx="2758680" cy="617220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200" dirty="0">
                <a:solidFill>
                  <a:schemeClr val="accent4"/>
                </a:solidFill>
              </a:rPr>
              <a:t>Нови </a:t>
            </a:r>
            <a:r>
              <a:rPr lang="bg-BG" sz="1200" dirty="0" smtClean="0">
                <a:solidFill>
                  <a:schemeClr val="accent4"/>
                </a:solidFill>
              </a:rPr>
              <a:t>инвестиции за ВИ-Е и ВИ-ТЕО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67092" y="2346942"/>
            <a:ext cx="2117567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 smtClean="0"/>
              <a:t>Близо 2 милиарда евро</a:t>
            </a:r>
            <a:endParaRPr lang="en-US" sz="1350" dirty="0"/>
          </a:p>
        </p:txBody>
      </p:sp>
      <p:sp>
        <p:nvSpPr>
          <p:cNvPr id="9" name="Pentagon 8"/>
          <p:cNvSpPr/>
          <p:nvPr/>
        </p:nvSpPr>
        <p:spPr bwMode="gray">
          <a:xfrm>
            <a:off x="365695" y="3860069"/>
            <a:ext cx="2758680" cy="61722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200" dirty="0"/>
              <a:t>Оперативни разходи</a:t>
            </a:r>
            <a:endParaRPr lang="en-US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3767092" y="3407689"/>
            <a:ext cx="4939964" cy="16773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>
                <a:solidFill>
                  <a:srgbClr val="313131"/>
                </a:solidFill>
              </a:rPr>
              <a:t>Структурни фондове 2021 – 2027 г.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50" b="1" dirty="0" err="1">
                <a:solidFill>
                  <a:srgbClr val="313131"/>
                </a:solidFill>
              </a:rPr>
              <a:t>InvestEU</a:t>
            </a:r>
            <a:endParaRPr lang="en-US" sz="1050" b="1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 err="1" smtClean="0">
                <a:solidFill>
                  <a:srgbClr val="313131"/>
                </a:solidFill>
              </a:rPr>
              <a:t>Модернизацоинен</a:t>
            </a:r>
            <a:r>
              <a:rPr lang="bg-BG" sz="1050" b="1" dirty="0" smtClean="0">
                <a:solidFill>
                  <a:srgbClr val="313131"/>
                </a:solidFill>
              </a:rPr>
              <a:t> фонд</a:t>
            </a:r>
            <a:endParaRPr lang="en-US" sz="1050" b="1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>
                <a:solidFill>
                  <a:srgbClr val="313131"/>
                </a:solidFill>
              </a:rPr>
              <a:t>Финансови инструменти (ЕИБ,</a:t>
            </a:r>
            <a:r>
              <a:rPr lang="en-US" sz="1050" b="1" dirty="0">
                <a:solidFill>
                  <a:srgbClr val="313131"/>
                </a:solidFill>
              </a:rPr>
              <a:t> </a:t>
            </a:r>
            <a:r>
              <a:rPr lang="bg-BG" sz="1050" b="1" dirty="0">
                <a:solidFill>
                  <a:srgbClr val="313131"/>
                </a:solidFill>
              </a:rPr>
              <a:t>ЕБВР, Фонд на фондовете, др.) 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 smtClean="0">
                <a:solidFill>
                  <a:srgbClr val="313131"/>
                </a:solidFill>
              </a:rPr>
              <a:t>Национално съфинансиране по оперативни програми</a:t>
            </a:r>
            <a:endParaRPr lang="bg-BG" sz="1050" b="1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 err="1">
                <a:solidFill>
                  <a:srgbClr val="313131"/>
                </a:solidFill>
              </a:rPr>
              <a:t>ФЕЕВИ</a:t>
            </a:r>
            <a:r>
              <a:rPr lang="bg-BG" sz="1050" b="1" dirty="0">
                <a:solidFill>
                  <a:srgbClr val="313131"/>
                </a:solidFill>
              </a:rPr>
              <a:t>, </a:t>
            </a:r>
            <a:r>
              <a:rPr lang="bg-BG" sz="1050" b="1" dirty="0" err="1">
                <a:solidFill>
                  <a:srgbClr val="313131"/>
                </a:solidFill>
              </a:rPr>
              <a:t>НДЕФ</a:t>
            </a:r>
            <a:r>
              <a:rPr lang="bg-BG" sz="1050" b="1" dirty="0">
                <a:solidFill>
                  <a:srgbClr val="313131"/>
                </a:solidFill>
              </a:rPr>
              <a:t>, Фонд </a:t>
            </a:r>
            <a:r>
              <a:rPr lang="bg-BG" sz="1050" b="1" dirty="0" err="1">
                <a:solidFill>
                  <a:srgbClr val="313131"/>
                </a:solidFill>
              </a:rPr>
              <a:t>СЕС</a:t>
            </a:r>
            <a:r>
              <a:rPr lang="bg-BG" sz="1050" b="1" dirty="0">
                <a:solidFill>
                  <a:srgbClr val="313131"/>
                </a:solidFill>
              </a:rPr>
              <a:t>, др. 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b="1" dirty="0">
                <a:solidFill>
                  <a:srgbClr val="313131"/>
                </a:solidFill>
              </a:rPr>
              <a:t>Частни инвестиции</a:t>
            </a:r>
          </a:p>
        </p:txBody>
      </p:sp>
    </p:spTree>
    <p:extLst>
      <p:ext uri="{BB962C8B-B14F-4D97-AF65-F5344CB8AC3E}">
        <p14:creationId xmlns:p14="http://schemas.microsoft.com/office/powerpoint/2010/main" val="2082107662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/>
              <a:t>Европейски и национални цели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Енергийна ефектив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 bwMode="gray">
          <a:xfrm>
            <a:off x="365695" y="2142207"/>
            <a:ext cx="2758680" cy="617220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200" dirty="0">
                <a:solidFill>
                  <a:schemeClr val="accent4"/>
                </a:solidFill>
              </a:rPr>
              <a:t>Общоевропейски цели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67092" y="2346942"/>
            <a:ext cx="862416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≥ </a:t>
            </a:r>
            <a:r>
              <a:rPr lang="en-US" sz="1350" b="1" dirty="0">
                <a:solidFill>
                  <a:srgbClr val="313131"/>
                </a:solidFill>
              </a:rPr>
              <a:t>32,5</a:t>
            </a:r>
            <a:r>
              <a:rPr lang="bg-BG" sz="1350" b="1" dirty="0">
                <a:solidFill>
                  <a:srgbClr val="313131"/>
                </a:solidFill>
              </a:rPr>
              <a:t>%</a:t>
            </a:r>
            <a:endParaRPr lang="en-US" sz="1350" b="1" dirty="0">
              <a:solidFill>
                <a:srgbClr val="313131"/>
              </a:solidFill>
            </a:endParaRPr>
          </a:p>
        </p:txBody>
      </p:sp>
      <p:sp>
        <p:nvSpPr>
          <p:cNvPr id="7" name="Pentagon 6"/>
          <p:cNvSpPr/>
          <p:nvPr/>
        </p:nvSpPr>
        <p:spPr bwMode="gray">
          <a:xfrm>
            <a:off x="365695" y="3351882"/>
            <a:ext cx="2758680" cy="61722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200" dirty="0"/>
              <a:t>Препоръка към България на Европейската комисия </a:t>
            </a:r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3767092" y="3556617"/>
            <a:ext cx="676467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≥ 27%</a:t>
            </a:r>
            <a:endParaRPr lang="en-US" sz="1350" b="1" dirty="0">
              <a:solidFill>
                <a:srgbClr val="313131"/>
              </a:solidFill>
            </a:endParaRPr>
          </a:p>
        </p:txBody>
      </p:sp>
      <p:sp>
        <p:nvSpPr>
          <p:cNvPr id="9" name="Pentagon 8"/>
          <p:cNvSpPr/>
          <p:nvPr/>
        </p:nvSpPr>
        <p:spPr bwMode="gray">
          <a:xfrm>
            <a:off x="365695" y="4561557"/>
            <a:ext cx="2758680" cy="61722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200" dirty="0"/>
              <a:t>Модел </a:t>
            </a:r>
            <a:r>
              <a:rPr lang="bg-BG" sz="1200" dirty="0" err="1"/>
              <a:t>НПЕК</a:t>
            </a:r>
            <a:r>
              <a:rPr lang="bg-BG" sz="1200" dirty="0"/>
              <a:t> България</a:t>
            </a:r>
            <a:endParaRPr lang="en-US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3767092" y="4827655"/>
            <a:ext cx="985847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b="1" dirty="0">
                <a:solidFill>
                  <a:srgbClr val="313131"/>
                </a:solidFill>
              </a:rPr>
              <a:t>≥ 27,36%</a:t>
            </a:r>
            <a:endParaRPr lang="en-US" sz="1350" b="1" dirty="0">
              <a:solidFill>
                <a:srgbClr val="31313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69420" y="2346942"/>
            <a:ext cx="3614772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 err="1">
                <a:solidFill>
                  <a:srgbClr val="313131"/>
                </a:solidFill>
              </a:rPr>
              <a:t>Относимо</a:t>
            </a:r>
            <a:r>
              <a:rPr lang="bg-BG" sz="1350" dirty="0">
                <a:solidFill>
                  <a:srgbClr val="313131"/>
                </a:solidFill>
              </a:rPr>
              <a:t> към базовия модел от 2007 г.</a:t>
            </a:r>
            <a:endParaRPr lang="en-US" sz="1350" dirty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26703" y="3556617"/>
            <a:ext cx="4350550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>
                <a:solidFill>
                  <a:srgbClr val="313131"/>
                </a:solidFill>
              </a:rPr>
              <a:t>В първично или крайно енергийно потребление</a:t>
            </a:r>
            <a:endParaRPr lang="en-US" sz="1350" dirty="0">
              <a:solidFill>
                <a:srgbClr val="31313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49613" y="4827655"/>
            <a:ext cx="3258905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>
                <a:solidFill>
                  <a:srgbClr val="313131"/>
                </a:solidFill>
              </a:rPr>
              <a:t>В първично енергийно потребление</a:t>
            </a:r>
            <a:endParaRPr lang="en-US" sz="135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52704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Пет стълба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ен съюз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76477" y="1742992"/>
            <a:ext cx="4611840" cy="34624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r>
              <a:rPr lang="bg-BG" dirty="0" smtClean="0">
                <a:solidFill>
                  <a:srgbClr val="313131"/>
                </a:solidFill>
              </a:rPr>
              <a:t>Енергийна сигурност</a:t>
            </a: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endParaRPr lang="bg-BG" dirty="0" smtClean="0">
              <a:solidFill>
                <a:srgbClr val="313131"/>
              </a:solidFill>
            </a:endParaRP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r>
              <a:rPr lang="bg-BG" dirty="0" smtClean="0">
                <a:solidFill>
                  <a:srgbClr val="313131"/>
                </a:solidFill>
              </a:rPr>
              <a:t>Вътрешен енергиен пазар</a:t>
            </a: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endParaRPr lang="bg-BG" dirty="0" smtClean="0">
              <a:solidFill>
                <a:srgbClr val="313131"/>
              </a:solidFill>
            </a:endParaRP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r>
              <a:rPr lang="bg-BG" dirty="0" err="1" smtClean="0">
                <a:solidFill>
                  <a:srgbClr val="313131"/>
                </a:solidFill>
              </a:rPr>
              <a:t>Декарбонизация</a:t>
            </a:r>
            <a:r>
              <a:rPr lang="bg-BG" dirty="0" smtClean="0">
                <a:solidFill>
                  <a:srgbClr val="313131"/>
                </a:solidFill>
              </a:rPr>
              <a:t> – емисии и ВЕИ</a:t>
            </a: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endParaRPr lang="bg-BG" dirty="0" smtClean="0">
              <a:solidFill>
                <a:srgbClr val="313131"/>
              </a:solidFill>
            </a:endParaRP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r>
              <a:rPr lang="bg-BG" dirty="0" smtClean="0">
                <a:solidFill>
                  <a:srgbClr val="313131"/>
                </a:solidFill>
              </a:rPr>
              <a:t>Енергийна ефективност</a:t>
            </a: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endParaRPr lang="bg-BG" dirty="0" smtClean="0">
              <a:solidFill>
                <a:srgbClr val="313131"/>
              </a:solidFill>
            </a:endParaRPr>
          </a:p>
          <a:p>
            <a:pPr marL="400050" indent="-400050">
              <a:spcBef>
                <a:spcPts val="600"/>
              </a:spcBef>
              <a:buSzPct val="100000"/>
              <a:buFont typeface="+mj-lt"/>
              <a:buAutoNum type="romanUcPeriod"/>
            </a:pPr>
            <a:r>
              <a:rPr lang="bg-BG" dirty="0" smtClean="0">
                <a:solidFill>
                  <a:srgbClr val="313131"/>
                </a:solidFill>
              </a:rPr>
              <a:t>Иновации и конкурентоспособност</a:t>
            </a:r>
          </a:p>
          <a:p>
            <a:pPr>
              <a:spcBef>
                <a:spcPts val="600"/>
              </a:spcBef>
              <a:buSzPct val="100000"/>
            </a:pPr>
            <a:endParaRPr lang="en-US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75023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Цели за спестявания в първично потребление на енергия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2425" y="367863"/>
            <a:ext cx="8439150" cy="334102"/>
          </a:xfrm>
        </p:spPr>
        <p:txBody>
          <a:bodyPr/>
          <a:lstStyle/>
          <a:p>
            <a:r>
              <a:rPr lang="bg-BG" dirty="0" smtClean="0"/>
              <a:t>Енергийна ефективност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1338919"/>
              </p:ext>
            </p:extLst>
          </p:nvPr>
        </p:nvGraphicFramePr>
        <p:xfrm>
          <a:off x="1089212" y="1865780"/>
          <a:ext cx="6858000" cy="3711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72639257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Цели 2030 г.</a:t>
            </a:r>
            <a:r>
              <a:rPr lang="en-US" dirty="0" smtClean="0"/>
              <a:t> </a:t>
            </a:r>
            <a:r>
              <a:rPr lang="bg-BG" dirty="0" smtClean="0"/>
              <a:t>(</a:t>
            </a:r>
            <a:r>
              <a:rPr lang="en-US" dirty="0" err="1"/>
              <a:t>k</a:t>
            </a:r>
            <a:r>
              <a:rPr lang="en-US" dirty="0" err="1" smtClean="0"/>
              <a:t>toe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и спестявания в крайното потребление съгласно чл. 7, ал. 1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52425" y="1841521"/>
            <a:ext cx="2622737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450"/>
              </a:spcBef>
              <a:buSzPct val="100000"/>
            </a:pPr>
            <a:r>
              <a:rPr lang="bg-BG" sz="900" dirty="0"/>
              <a:t>Съгласно чл. 7(1) от Директивата за </a:t>
            </a:r>
            <a:r>
              <a:rPr lang="bg-BG" sz="900" dirty="0" err="1"/>
              <a:t>ЕЕ</a:t>
            </a:r>
            <a:r>
              <a:rPr lang="bg-BG" sz="900" dirty="0"/>
              <a:t>, целта на всяка държава членка за 2021 г. до 2030 г. е намаление на крайното енергийно потребление от поне 0,8% на година, изчислено спрямо средното годишно енергийно потребление за 2016 – 2018 г.  </a:t>
            </a:r>
            <a:endParaRPr lang="en-US" sz="9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992154"/>
              </p:ext>
            </p:extLst>
          </p:nvPr>
        </p:nvGraphicFramePr>
        <p:xfrm>
          <a:off x="4235824" y="1806159"/>
          <a:ext cx="4555750" cy="9044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5282">
                  <a:extLst>
                    <a:ext uri="{9D8B030D-6E8A-4147-A177-3AD203B41FA5}">
                      <a16:colId xmlns:a16="http://schemas.microsoft.com/office/drawing/2014/main" xmlns="" val="360577826"/>
                    </a:ext>
                  </a:extLst>
                </a:gridCol>
                <a:gridCol w="884714">
                  <a:extLst>
                    <a:ext uri="{9D8B030D-6E8A-4147-A177-3AD203B41FA5}">
                      <a16:colId xmlns:a16="http://schemas.microsoft.com/office/drawing/2014/main" xmlns="" val="64492113"/>
                    </a:ext>
                  </a:extLst>
                </a:gridCol>
                <a:gridCol w="906189">
                  <a:extLst>
                    <a:ext uri="{9D8B030D-6E8A-4147-A177-3AD203B41FA5}">
                      <a16:colId xmlns:a16="http://schemas.microsoft.com/office/drawing/2014/main" xmlns="" val="614852472"/>
                    </a:ext>
                  </a:extLst>
                </a:gridCol>
                <a:gridCol w="929565">
                  <a:extLst>
                    <a:ext uri="{9D8B030D-6E8A-4147-A177-3AD203B41FA5}">
                      <a16:colId xmlns:a16="http://schemas.microsoft.com/office/drawing/2014/main" xmlns="" val="1632823294"/>
                    </a:ext>
                  </a:extLst>
                </a:gridCol>
              </a:tblGrid>
              <a:tr h="218638">
                <a:tc>
                  <a:txBody>
                    <a:bodyPr/>
                    <a:lstStyle/>
                    <a:p>
                      <a:endParaRPr lang="en-US" sz="900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latin typeface="+mj-lt"/>
                          <a:ea typeface="Verdana" panose="020B0604030504040204" pitchFamily="34" charset="0"/>
                        </a:rPr>
                        <a:t>2016</a:t>
                      </a:r>
                      <a:endParaRPr lang="en-US" sz="9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latin typeface="+mj-lt"/>
                          <a:ea typeface="Verdana" panose="020B0604030504040204" pitchFamily="34" charset="0"/>
                        </a:rPr>
                        <a:t>2017</a:t>
                      </a:r>
                      <a:endParaRPr lang="en-US" sz="9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 smtClean="0">
                          <a:latin typeface="+mj-lt"/>
                          <a:ea typeface="Verdana" panose="020B0604030504040204" pitchFamily="34" charset="0"/>
                        </a:rPr>
                        <a:t>2018</a:t>
                      </a:r>
                      <a:endParaRPr lang="en-US" sz="9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35387006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bg-BG" sz="900" b="0" i="0" dirty="0" smtClean="0">
                          <a:latin typeface="+mj-lt"/>
                          <a:ea typeface="Verdana" panose="020B0604030504040204" pitchFamily="34" charset="0"/>
                        </a:rPr>
                        <a:t>Крайно енергийно потребление</a:t>
                      </a:r>
                      <a:endParaRPr lang="en-US" sz="900" b="0" i="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9,731.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9,976.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Verdana" panose="020B0604030504040204" pitchFamily="34" charset="0"/>
                        </a:rPr>
                        <a:t>10,003.0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70824018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r>
                        <a:rPr lang="bg-BG" sz="900" b="0" i="0" dirty="0" smtClean="0">
                          <a:latin typeface="+mj-lt"/>
                          <a:ea typeface="Verdana" panose="020B0604030504040204" pitchFamily="34" charset="0"/>
                        </a:rPr>
                        <a:t>Средно потребление</a:t>
                      </a:r>
                      <a:r>
                        <a:rPr lang="bg-BG" sz="900" b="0" i="0" baseline="0" dirty="0" smtClean="0">
                          <a:latin typeface="+mj-lt"/>
                          <a:ea typeface="Verdana" panose="020B0604030504040204" pitchFamily="34" charset="0"/>
                        </a:rPr>
                        <a:t> за периода </a:t>
                      </a:r>
                      <a:r>
                        <a:rPr lang="en-US" sz="900" b="0" i="0" baseline="0" dirty="0" smtClean="0">
                          <a:latin typeface="+mj-lt"/>
                          <a:ea typeface="Verdana" panose="020B0604030504040204" pitchFamily="34" charset="0"/>
                        </a:rPr>
                        <a:t>2016 – 2018</a:t>
                      </a:r>
                      <a:r>
                        <a:rPr lang="bg-BG" sz="900" b="0" i="0" baseline="0" dirty="0" smtClean="0">
                          <a:latin typeface="+mj-lt"/>
                          <a:ea typeface="Verdana" panose="020B0604030504040204" pitchFamily="34" charset="0"/>
                        </a:rPr>
                        <a:t> г.</a:t>
                      </a:r>
                      <a:endParaRPr lang="en-US" sz="900" b="0" i="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tc gridSpan="3">
                  <a:txBody>
                    <a:bodyPr/>
                    <a:lstStyle/>
                    <a:p>
                      <a:pPr algn="ctr"/>
                      <a:endParaRPr lang="en-US" sz="900" dirty="0" smtClean="0">
                        <a:latin typeface="+mj-lt"/>
                        <a:ea typeface="Verdana" panose="020B0604030504040204" pitchFamily="34" charset="0"/>
                      </a:endParaRPr>
                    </a:p>
                    <a:p>
                      <a:pPr algn="ctr"/>
                      <a:r>
                        <a:rPr lang="en-US" sz="900" dirty="0" smtClean="0">
                          <a:latin typeface="+mj-lt"/>
                          <a:ea typeface="Verdana" panose="020B0604030504040204" pitchFamily="34" charset="0"/>
                        </a:rPr>
                        <a:t>9,903.4</a:t>
                      </a:r>
                      <a:endParaRPr lang="en-US" sz="900" dirty="0">
                        <a:latin typeface="+mj-lt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35344808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411218"/>
              </p:ext>
            </p:extLst>
          </p:nvPr>
        </p:nvGraphicFramePr>
        <p:xfrm>
          <a:off x="1996892" y="3099647"/>
          <a:ext cx="6794682" cy="25353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9542">
                  <a:extLst>
                    <a:ext uri="{9D8B030D-6E8A-4147-A177-3AD203B41FA5}">
                      <a16:colId xmlns:a16="http://schemas.microsoft.com/office/drawing/2014/main" xmlns="" val="2812450528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3509966951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1236923325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490991797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4030514352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3432656199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1665486507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845540937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2455000333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3094507873"/>
                    </a:ext>
                  </a:extLst>
                </a:gridCol>
                <a:gridCol w="545319">
                  <a:extLst>
                    <a:ext uri="{9D8B030D-6E8A-4147-A177-3AD203B41FA5}">
                      <a16:colId xmlns:a16="http://schemas.microsoft.com/office/drawing/2014/main" xmlns="" val="3881606481"/>
                    </a:ext>
                  </a:extLst>
                </a:gridCol>
                <a:gridCol w="701950">
                  <a:extLst>
                    <a:ext uri="{9D8B030D-6E8A-4147-A177-3AD203B41FA5}">
                      <a16:colId xmlns:a16="http://schemas.microsoft.com/office/drawing/2014/main" xmlns="" val="1185876149"/>
                    </a:ext>
                  </a:extLst>
                </a:gridCol>
              </a:tblGrid>
              <a:tr h="211283">
                <a:tc>
                  <a:txBody>
                    <a:bodyPr/>
                    <a:lstStyle/>
                    <a:p>
                      <a:r>
                        <a:rPr lang="bg-BG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Година</a:t>
                      </a:r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 gridSpan="10">
                  <a:txBody>
                    <a:bodyPr/>
                    <a:lstStyle/>
                    <a:p>
                      <a:r>
                        <a:rPr lang="bg-BG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Годишни енергийни спестявания</a:t>
                      </a:r>
                      <a:r>
                        <a:rPr lang="bg-BG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в крайното потребление</a:t>
                      </a:r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bg-BG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що</a:t>
                      </a:r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310594981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 gridSpan="9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69.2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161481648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 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 gridSpan="8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38.4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3381047240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 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</a:p>
                  </a:txBody>
                  <a:tcPr marL="0" marR="0" marT="0" marB="0" anchor="ctr"/>
                </a:tc>
                <a:tc gridSpan="7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12.4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695503142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4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 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</a:p>
                  </a:txBody>
                  <a:tcPr marL="0" marR="0" marT="0" marB="0" anchor="ctr"/>
                </a:tc>
                <a:tc gridSpan="6"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86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089342838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5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 gridSpan="5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378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274050384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6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 gridSpan="4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470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4091146710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7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562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3017033902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8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654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980593625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9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746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4126942202"/>
                  </a:ext>
                </a:extLst>
              </a:tr>
              <a:tr h="211283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30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9.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4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2.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2.0</a:t>
                      </a:r>
                      <a:endParaRPr lang="en-US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838.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3883157151"/>
                  </a:ext>
                </a:extLst>
              </a:tr>
              <a:tr h="211283">
                <a:tc gridSpan="11">
                  <a:txBody>
                    <a:bodyPr/>
                    <a:lstStyle/>
                    <a:p>
                      <a:pPr algn="l"/>
                      <a:r>
                        <a:rPr lang="bg-BG" sz="9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БЩО кумулативни</a:t>
                      </a:r>
                      <a:r>
                        <a:rPr lang="bg-BG" sz="9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спестявания за периода 20</a:t>
                      </a:r>
                      <a:r>
                        <a:rPr lang="en-US" sz="9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1-2030 </a:t>
                      </a:r>
                      <a:r>
                        <a:rPr lang="bg-BG" sz="9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г.</a:t>
                      </a:r>
                      <a:endParaRPr lang="en-US" sz="900" b="1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4357.55</a:t>
                      </a:r>
                      <a:endParaRPr lang="en-US" sz="900" b="1" i="0" u="none" strike="noStrike" kern="12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959370854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97835" y="3429000"/>
            <a:ext cx="41678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200" dirty="0">
                <a:solidFill>
                  <a:srgbClr val="313131"/>
                </a:solidFill>
              </a:rPr>
              <a:t>0,7%</a:t>
            </a: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9143" y="3874549"/>
            <a:ext cx="5145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200" dirty="0">
                <a:solidFill>
                  <a:srgbClr val="313131"/>
                </a:solidFill>
              </a:rPr>
              <a:t>0,75%</a:t>
            </a: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49142" y="4704759"/>
            <a:ext cx="5145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200" dirty="0">
                <a:solidFill>
                  <a:srgbClr val="313131"/>
                </a:solidFill>
              </a:rPr>
              <a:t>0,93%</a:t>
            </a: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2425" y="3099647"/>
            <a:ext cx="148277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900" b="1" dirty="0">
                <a:solidFill>
                  <a:schemeClr val="accent1"/>
                </a:solidFill>
              </a:rPr>
              <a:t>Поетапно изпълнение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13" name="Left Brace 12"/>
          <p:cNvSpPr/>
          <p:nvPr/>
        </p:nvSpPr>
        <p:spPr>
          <a:xfrm>
            <a:off x="1240491" y="3338232"/>
            <a:ext cx="756401" cy="413498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Left Brace 13"/>
          <p:cNvSpPr/>
          <p:nvPr/>
        </p:nvSpPr>
        <p:spPr>
          <a:xfrm>
            <a:off x="1240491" y="3751730"/>
            <a:ext cx="756401" cy="393326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Left Brace 15"/>
          <p:cNvSpPr/>
          <p:nvPr/>
        </p:nvSpPr>
        <p:spPr>
          <a:xfrm>
            <a:off x="1240491" y="4145056"/>
            <a:ext cx="756401" cy="1280833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59440709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Основни политики и мерки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ефективност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385069"/>
              </p:ext>
            </p:extLst>
          </p:nvPr>
        </p:nvGraphicFramePr>
        <p:xfrm>
          <a:off x="352425" y="1839626"/>
          <a:ext cx="8437725" cy="3521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66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410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96102">
                <a:tc>
                  <a:txBody>
                    <a:bodyPr/>
                    <a:lstStyle/>
                    <a:p>
                      <a:pPr marL="0" indent="0">
                        <a:lnSpc>
                          <a:spcPct val="11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Основни политики</a:t>
                      </a:r>
                      <a:r>
                        <a:rPr lang="bg-BG" sz="1100" b="0" baseline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 и мерки</a:t>
                      </a:r>
                      <a:endParaRPr lang="en-US" sz="1100" b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68580" marR="68580" marT="68580" marB="68580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bg-BG" sz="1100" b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Времеви период</a:t>
                      </a:r>
                      <a:endParaRPr lang="en-GB" sz="1100" b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marL="68580" marR="68580" marT="68580" marB="6858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47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сновни политики и мерки в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стигане на енергийни спестявания в сградите, включително научни изследвания и внедряване на умни системи и дигитализация в строителния сектор. 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5/2021 – 2030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936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новление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съществуващи сгради с цел постигане на почти нулево енергийно потребление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1 - 2030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52564995"/>
                  </a:ext>
                </a:extLst>
              </a:tr>
              <a:tr h="41376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Либерализацията на електро-енергийния пазар ще доведе до подобряване изпълнението на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индивидуалните задължения за енергийни спестявания при крайните клиенти.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2 - 2030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5463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сърчаване активното участие на крайните потребители в контекста на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либерализация на пазара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2- 2030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2025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сърчаване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обследванията за енергийна ефективност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5 - 2030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bg-BG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сърчаване на </a:t>
                      </a:r>
                      <a:r>
                        <a:rPr lang="bg-BG" sz="11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ЕСКО</a:t>
                      </a:r>
                      <a:r>
                        <a:rPr lang="bg-BG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услугите от страна на енергийните компании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lvl="1" indent="-1143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lang="bg-BG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1 - 2025</a:t>
                      </a: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68580" marB="6858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47490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56227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Необходими инвестиции при прогнозни разходи от 1120 лв./</a:t>
            </a:r>
            <a:r>
              <a:rPr lang="en-US" dirty="0" smtClean="0"/>
              <a:t>MWh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ефектив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 bwMode="gray">
          <a:xfrm>
            <a:off x="365695" y="2142207"/>
            <a:ext cx="2758680" cy="617220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100" dirty="0">
                <a:solidFill>
                  <a:schemeClr val="accent4"/>
                </a:solidFill>
              </a:rPr>
              <a:t>За изпълнение на чл. 7 от </a:t>
            </a:r>
            <a:r>
              <a:rPr lang="bg-BG" sz="1100" dirty="0" err="1">
                <a:solidFill>
                  <a:schemeClr val="accent4"/>
                </a:solidFill>
              </a:rPr>
              <a:t>ДЕЕ</a:t>
            </a:r>
            <a:endParaRPr lang="en-US" sz="1100" dirty="0">
              <a:solidFill>
                <a:schemeClr val="accent4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67092" y="2346942"/>
            <a:ext cx="1558119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>
                <a:solidFill>
                  <a:srgbClr val="313131"/>
                </a:solidFill>
              </a:rPr>
              <a:t>Над </a:t>
            </a:r>
            <a:r>
              <a:rPr lang="bg-BG" sz="1350" dirty="0" smtClean="0">
                <a:solidFill>
                  <a:srgbClr val="313131"/>
                </a:solidFill>
              </a:rPr>
              <a:t>5 </a:t>
            </a:r>
            <a:r>
              <a:rPr lang="bg-BG" sz="1350" dirty="0">
                <a:solidFill>
                  <a:srgbClr val="313131"/>
                </a:solidFill>
              </a:rPr>
              <a:t>млрд. </a:t>
            </a:r>
            <a:r>
              <a:rPr lang="bg-BG" sz="1350" dirty="0" smtClean="0">
                <a:solidFill>
                  <a:srgbClr val="313131"/>
                </a:solidFill>
              </a:rPr>
              <a:t>евро</a:t>
            </a:r>
            <a:endParaRPr lang="en-US" sz="1350" dirty="0">
              <a:solidFill>
                <a:srgbClr val="313131"/>
              </a:solidFill>
            </a:endParaRPr>
          </a:p>
        </p:txBody>
      </p:sp>
      <p:sp>
        <p:nvSpPr>
          <p:cNvPr id="7" name="Pentagon 6"/>
          <p:cNvSpPr/>
          <p:nvPr/>
        </p:nvSpPr>
        <p:spPr bwMode="gray">
          <a:xfrm>
            <a:off x="365695" y="3077567"/>
            <a:ext cx="2758680" cy="617220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100" dirty="0"/>
              <a:t>За енергийни спестявания в сгради</a:t>
            </a:r>
            <a:endParaRPr lang="en-US" sz="1100" dirty="0"/>
          </a:p>
        </p:txBody>
      </p:sp>
      <p:sp>
        <p:nvSpPr>
          <p:cNvPr id="8" name="TextBox 7"/>
          <p:cNvSpPr txBox="1"/>
          <p:nvPr/>
        </p:nvSpPr>
        <p:spPr>
          <a:xfrm>
            <a:off x="3767092" y="3282303"/>
            <a:ext cx="1558119" cy="2077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bg-BG" sz="1350" dirty="0">
                <a:solidFill>
                  <a:srgbClr val="313131"/>
                </a:solidFill>
              </a:rPr>
              <a:t>Над </a:t>
            </a:r>
            <a:r>
              <a:rPr lang="bg-BG" sz="1350" dirty="0" smtClean="0">
                <a:solidFill>
                  <a:srgbClr val="313131"/>
                </a:solidFill>
              </a:rPr>
              <a:t>4 </a:t>
            </a:r>
            <a:r>
              <a:rPr lang="bg-BG" sz="1350" dirty="0">
                <a:solidFill>
                  <a:srgbClr val="313131"/>
                </a:solidFill>
              </a:rPr>
              <a:t>млрд. </a:t>
            </a:r>
            <a:r>
              <a:rPr lang="bg-BG" sz="1350" dirty="0" smtClean="0">
                <a:solidFill>
                  <a:srgbClr val="313131"/>
                </a:solidFill>
              </a:rPr>
              <a:t>евро</a:t>
            </a:r>
            <a:endParaRPr lang="en-US" sz="1350" dirty="0">
              <a:solidFill>
                <a:srgbClr val="313131"/>
              </a:solidFill>
            </a:endParaRPr>
          </a:p>
        </p:txBody>
      </p:sp>
      <p:sp>
        <p:nvSpPr>
          <p:cNvPr id="9" name="Pentagon 8"/>
          <p:cNvSpPr/>
          <p:nvPr/>
        </p:nvSpPr>
        <p:spPr bwMode="gray">
          <a:xfrm>
            <a:off x="365695" y="4561557"/>
            <a:ext cx="2758680" cy="617220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66675" rIns="66675" bIns="66675" rtlCol="0" anchor="ctr"/>
          <a:lstStyle/>
          <a:p>
            <a:r>
              <a:rPr lang="bg-BG" sz="1100" dirty="0"/>
              <a:t>Източници</a:t>
            </a:r>
            <a:endParaRPr 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3767092" y="4131503"/>
            <a:ext cx="4939964" cy="1515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dirty="0">
                <a:solidFill>
                  <a:srgbClr val="313131"/>
                </a:solidFill>
              </a:rPr>
              <a:t>Структурни фондове 2021 – 2027 г.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050" dirty="0" err="1">
                <a:solidFill>
                  <a:srgbClr val="313131"/>
                </a:solidFill>
              </a:rPr>
              <a:t>InvestEU</a:t>
            </a:r>
            <a:endParaRPr lang="en-US" sz="1050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dirty="0" err="1" smtClean="0">
                <a:solidFill>
                  <a:srgbClr val="313131"/>
                </a:solidFill>
              </a:rPr>
              <a:t>Модернизационен</a:t>
            </a:r>
            <a:r>
              <a:rPr lang="bg-BG" sz="1050" dirty="0" smtClean="0">
                <a:solidFill>
                  <a:srgbClr val="313131"/>
                </a:solidFill>
              </a:rPr>
              <a:t> фонд</a:t>
            </a:r>
            <a:endParaRPr lang="en-US" sz="1050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dirty="0">
                <a:solidFill>
                  <a:srgbClr val="313131"/>
                </a:solidFill>
              </a:rPr>
              <a:t>Финансови инструменти (ЕИБ,</a:t>
            </a:r>
            <a:r>
              <a:rPr lang="en-US" sz="1050" dirty="0">
                <a:solidFill>
                  <a:srgbClr val="313131"/>
                </a:solidFill>
              </a:rPr>
              <a:t> </a:t>
            </a:r>
            <a:r>
              <a:rPr lang="bg-BG" sz="1050" dirty="0">
                <a:solidFill>
                  <a:srgbClr val="313131"/>
                </a:solidFill>
              </a:rPr>
              <a:t>ЕБВР, Фонд на фондовете, др.) 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050" dirty="0" err="1">
                <a:solidFill>
                  <a:srgbClr val="313131"/>
                </a:solidFill>
              </a:rPr>
              <a:t>Национално</a:t>
            </a:r>
            <a:r>
              <a:rPr lang="ru-RU" sz="1050" dirty="0">
                <a:solidFill>
                  <a:srgbClr val="313131"/>
                </a:solidFill>
              </a:rPr>
              <a:t> </a:t>
            </a:r>
            <a:r>
              <a:rPr lang="ru-RU" sz="1050" dirty="0" err="1">
                <a:solidFill>
                  <a:srgbClr val="313131"/>
                </a:solidFill>
              </a:rPr>
              <a:t>съфинансиране</a:t>
            </a:r>
            <a:r>
              <a:rPr lang="ru-RU" sz="1050" dirty="0">
                <a:solidFill>
                  <a:srgbClr val="313131"/>
                </a:solidFill>
              </a:rPr>
              <a:t> по </a:t>
            </a:r>
            <a:r>
              <a:rPr lang="ru-RU" sz="1050" dirty="0" err="1">
                <a:solidFill>
                  <a:srgbClr val="313131"/>
                </a:solidFill>
              </a:rPr>
              <a:t>оперативни</a:t>
            </a:r>
            <a:r>
              <a:rPr lang="ru-RU" sz="1050" dirty="0">
                <a:solidFill>
                  <a:srgbClr val="313131"/>
                </a:solidFill>
              </a:rPr>
              <a:t> </a:t>
            </a:r>
            <a:r>
              <a:rPr lang="ru-RU" sz="1050" dirty="0" err="1">
                <a:solidFill>
                  <a:srgbClr val="313131"/>
                </a:solidFill>
              </a:rPr>
              <a:t>програми</a:t>
            </a:r>
            <a:endParaRPr lang="ru-RU" sz="1050" dirty="0">
              <a:solidFill>
                <a:srgbClr val="313131"/>
              </a:solidFill>
            </a:endParaRP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dirty="0" err="1" smtClean="0">
                <a:solidFill>
                  <a:srgbClr val="313131"/>
                </a:solidFill>
              </a:rPr>
              <a:t>ФЕЕВИ</a:t>
            </a:r>
            <a:r>
              <a:rPr lang="bg-BG" sz="1050" dirty="0">
                <a:solidFill>
                  <a:srgbClr val="313131"/>
                </a:solidFill>
              </a:rPr>
              <a:t>, </a:t>
            </a:r>
            <a:r>
              <a:rPr lang="bg-BG" sz="1050" dirty="0" err="1">
                <a:solidFill>
                  <a:srgbClr val="313131"/>
                </a:solidFill>
              </a:rPr>
              <a:t>НДЕФ</a:t>
            </a:r>
            <a:r>
              <a:rPr lang="bg-BG" sz="1050" dirty="0">
                <a:solidFill>
                  <a:srgbClr val="313131"/>
                </a:solidFill>
              </a:rPr>
              <a:t>, Фонд </a:t>
            </a:r>
            <a:r>
              <a:rPr lang="bg-BG" sz="1050" dirty="0" err="1">
                <a:solidFill>
                  <a:srgbClr val="313131"/>
                </a:solidFill>
              </a:rPr>
              <a:t>СЕС</a:t>
            </a:r>
            <a:r>
              <a:rPr lang="bg-BG" sz="1050" dirty="0">
                <a:solidFill>
                  <a:srgbClr val="313131"/>
                </a:solidFill>
              </a:rPr>
              <a:t>, др. </a:t>
            </a:r>
          </a:p>
          <a:p>
            <a:pPr marL="214313" indent="-214313">
              <a:spcBef>
                <a:spcPts val="450"/>
              </a:spcBef>
              <a:buSzPct val="100000"/>
              <a:buFont typeface="Arial" panose="020B0604020202020204" pitchFamily="34" charset="0"/>
              <a:buChar char="•"/>
            </a:pPr>
            <a:r>
              <a:rPr lang="bg-BG" sz="1050" dirty="0">
                <a:solidFill>
                  <a:srgbClr val="313131"/>
                </a:solidFill>
              </a:rPr>
              <a:t>Частни инвестиции</a:t>
            </a:r>
          </a:p>
        </p:txBody>
      </p:sp>
    </p:spTree>
    <p:extLst>
      <p:ext uri="{BB962C8B-B14F-4D97-AF65-F5344CB8AC3E}">
        <p14:creationId xmlns:p14="http://schemas.microsoft.com/office/powerpoint/2010/main" val="1937008283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Изпълнение на препоръките на Е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Научни изследвания, иновации, конкурентоспособ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150537"/>
            <a:ext cx="1375097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Европейска цел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1727522" y="1150537"/>
            <a:ext cx="1770926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Коментар на Комисията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498448" y="1150537"/>
            <a:ext cx="2656391" cy="440871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err="1">
                <a:solidFill>
                  <a:schemeClr val="bg1"/>
                </a:solidFill>
              </a:rPr>
              <a:t>НПЕК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6154839" y="1150537"/>
            <a:ext cx="2417661" cy="440871"/>
          </a:xfrm>
          <a:prstGeom prst="chevron">
            <a:avLst/>
          </a:prstGeom>
          <a:solidFill>
            <a:schemeClr val="accent3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Политики и мерки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1902840"/>
              </p:ext>
            </p:extLst>
          </p:nvPr>
        </p:nvGraphicFramePr>
        <p:xfrm>
          <a:off x="352425" y="1675058"/>
          <a:ext cx="8220075" cy="3726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00175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743075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2800350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2276475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2874645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Финансиране на публичн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частни изследвания и иновации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а се уточнят допълнителни общ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и конкретни цели за финансиране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правления на целите: 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исоко-ефективни технологи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Умни мреж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ъхранение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Изследвания във връзка с ядрената енергия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витие на електро-химически източници на енергия, като батерии, акумулатори, водородни и горивни клетки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щ </a:t>
                      </a:r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&amp;D </a:t>
                      </a: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ходи в България са 0,75% от БВП за 2018 г.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ЕС делът е 2,11%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Увеличаване на разходите за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&amp;D, 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ключително от публични източниц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ъдещи мерки: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ROSSBOW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FLEXITRANSTOR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NTERRFAC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DN-microSENSE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– </a:t>
                      </a: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DN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FORESIGHT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X-FLEX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FARCROSS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TRINITY </a:t>
                      </a:r>
                    </a:p>
                    <a:p>
                      <a:pPr marL="171450" lvl="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Европейски иновационен фонд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7477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6319057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Изпълнение на препоръките на Е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Научни изследвания, иновации, конкурентоспособ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231562"/>
            <a:ext cx="1661570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Европейска цел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013996" y="1231562"/>
            <a:ext cx="1759352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Коментар на Комисията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773349" y="1231562"/>
            <a:ext cx="1956120" cy="440871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err="1">
                <a:solidFill>
                  <a:schemeClr val="bg1"/>
                </a:solidFill>
              </a:rPr>
              <a:t>НПЕК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5729469" y="1231562"/>
            <a:ext cx="2843031" cy="440871"/>
          </a:xfrm>
          <a:prstGeom prst="chevron">
            <a:avLst/>
          </a:prstGeom>
          <a:solidFill>
            <a:schemeClr val="accent3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Политики и мерки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308523"/>
              </p:ext>
            </p:extLst>
          </p:nvPr>
        </p:nvGraphicFramePr>
        <p:xfrm>
          <a:off x="352425" y="1756083"/>
          <a:ext cx="8220075" cy="2849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00175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743075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2175920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2900905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2646045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Финансиране на публичн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частни изследвания и иновации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а се отнасят до постигане на целите в другите измерения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опълнителни програм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в областта на иновациите и конкурентно способността включват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Механизъм за финансови компенсации за предотвратяване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„изтичането на въглерод“</a:t>
                      </a:r>
                      <a:endParaRPr lang="bg-BG" sz="10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ционална научна програма на Министерството на Образованието, цели: </a:t>
                      </a:r>
                    </a:p>
                    <a:p>
                      <a:pPr marL="625475" lvl="2" indent="-185738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За транспорта и бита</a:t>
                      </a:r>
                    </a:p>
                    <a:p>
                      <a:pPr marL="625475" lvl="2" indent="-185738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пазване на околната среда</a:t>
                      </a:r>
                    </a:p>
                    <a:p>
                      <a:pPr marL="171450" lvl="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Министерство на икономиката – ОП Иновации и </a:t>
                      </a:r>
                      <a:r>
                        <a:rPr lang="bg-BG" sz="10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конкурентноспобност</a:t>
                      </a:r>
                      <a:endParaRPr lang="bg-BG" sz="1000" b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lvl="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ограми за изучаване на потенциала за газовите хидрати</a:t>
                      </a:r>
                    </a:p>
                    <a:p>
                      <a:pPr marL="171450" lvl="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ограма за оценка на ефектите от въглеродните емисии и замърсяването на въздуха от Министерство на образованието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8915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340490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Изпълнение на препоръките на ЕК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Регионално сътрудничеств</a:t>
            </a:r>
            <a:r>
              <a:rPr lang="bg-BG" dirty="0"/>
              <a:t>о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451479"/>
            <a:ext cx="2105024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Европейска цел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457451" y="1451479"/>
            <a:ext cx="2019299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Коментар на Комисията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4476750" y="1451479"/>
            <a:ext cx="1964721" cy="440871"/>
          </a:xfrm>
          <a:prstGeom prst="chevron">
            <a:avLst/>
          </a:prstGeom>
          <a:solidFill>
            <a:schemeClr val="accent3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err="1">
                <a:solidFill>
                  <a:schemeClr val="bg1"/>
                </a:solidFill>
              </a:rPr>
              <a:t>НПЕК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6441471" y="1451479"/>
            <a:ext cx="2131029" cy="440871"/>
          </a:xfrm>
          <a:prstGeom prst="chevron">
            <a:avLst/>
          </a:prstGeom>
          <a:solidFill>
            <a:schemeClr val="accent3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Политики и мерки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060505"/>
              </p:ext>
            </p:extLst>
          </p:nvPr>
        </p:nvGraphicFramePr>
        <p:xfrm>
          <a:off x="352425" y="1976000"/>
          <a:ext cx="8220075" cy="30403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00175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743075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2800350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2276475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2394585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Финансиране на публичн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частни изследвания и иновации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работен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с други държави членки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ластите на </a:t>
                      </a:r>
                      <a:r>
                        <a:rPr lang="en-US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&amp;D 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а идентифицирани следните области за възможно сътрудничество.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</a:t>
                      </a:r>
                      <a:r>
                        <a:rPr lang="bg-BG" sz="10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Гърция: 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витите на иновативни технологии за съхранение на енергия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Умни мреж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сърчаване на иновативни технологии в транспорта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 Румъния: 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ъхранение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ел. енергия с цел внедряване на ВЕИ, конкретно малко инсталации за съхранение и активни потребители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Умни мрежи, включително с цел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увеличаване на енергийна ефективност</a:t>
                      </a:r>
                      <a:endParaRPr lang="bg-BG" sz="10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0359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7727345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Прогнозни годишни разходи за енергия при постигане на целите</a:t>
            </a: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E95624A4-AC2B-4CA8-A941-03EB8A090F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2277799"/>
              </p:ext>
            </p:extLst>
          </p:nvPr>
        </p:nvGraphicFramePr>
        <p:xfrm>
          <a:off x="352425" y="1145892"/>
          <a:ext cx="8224416" cy="4780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1364758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2425" y="310016"/>
            <a:ext cx="8439150" cy="334102"/>
          </a:xfrm>
        </p:spPr>
        <p:txBody>
          <a:bodyPr/>
          <a:lstStyle/>
          <a:p>
            <a:r>
              <a:rPr lang="bg-BG" dirty="0" smtClean="0"/>
              <a:t>Източници на финансиране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2425" y="1616157"/>
            <a:ext cx="3876675" cy="41011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>
                <a:solidFill>
                  <a:srgbClr val="313131"/>
                </a:solidFill>
              </a:rPr>
              <a:t>Структурни фондове – 2021 – 2027 г.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>
                <a:solidFill>
                  <a:srgbClr val="313131"/>
                </a:solidFill>
              </a:rPr>
              <a:t>ЦП</a:t>
            </a:r>
            <a:r>
              <a:rPr lang="bg-BG" sz="1200" dirty="0">
                <a:solidFill>
                  <a:srgbClr val="313131"/>
                </a:solidFill>
              </a:rPr>
              <a:t> 2  - по-зелена Европа и 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>
                <a:solidFill>
                  <a:srgbClr val="313131"/>
                </a:solidFill>
              </a:rPr>
              <a:t>ЦП</a:t>
            </a:r>
            <a:r>
              <a:rPr lang="bg-BG" sz="1200" dirty="0">
                <a:solidFill>
                  <a:srgbClr val="313131"/>
                </a:solidFill>
              </a:rPr>
              <a:t> 3 – по-добре свързана Европа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>
                <a:solidFill>
                  <a:srgbClr val="313131"/>
                </a:solidFill>
              </a:rPr>
              <a:t>ЦП</a:t>
            </a:r>
            <a:r>
              <a:rPr lang="bg-BG" sz="1200" dirty="0">
                <a:solidFill>
                  <a:srgbClr val="313131"/>
                </a:solidFill>
              </a:rPr>
              <a:t> 5 – Европа по-близко до гражданите</a:t>
            </a: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bg-BG" sz="1200" dirty="0" smtClean="0">
              <a:solidFill>
                <a:srgbClr val="313131"/>
              </a:solidFill>
            </a:endParaRP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en-US" sz="1200" b="1" dirty="0" err="1" smtClean="0">
                <a:solidFill>
                  <a:srgbClr val="313131"/>
                </a:solidFill>
              </a:rPr>
              <a:t>InvestEU</a:t>
            </a:r>
            <a:r>
              <a:rPr lang="en-US" sz="1200" b="1" dirty="0">
                <a:solidFill>
                  <a:srgbClr val="313131"/>
                </a:solidFill>
              </a:rPr>
              <a:t>: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Устойчива инфраструктура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313131"/>
                </a:solidFill>
              </a:rPr>
              <a:t>R&amp;D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МСП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Социални инвестиции</a:t>
            </a: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bg-BG" sz="1200" dirty="0" smtClean="0">
              <a:solidFill>
                <a:srgbClr val="313131"/>
              </a:solidFill>
            </a:endParaRP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 smtClean="0">
                <a:solidFill>
                  <a:srgbClr val="313131"/>
                </a:solidFill>
              </a:rPr>
              <a:t>Фонд </a:t>
            </a:r>
            <a:r>
              <a:rPr lang="bg-BG" sz="1200" b="1" dirty="0">
                <a:solidFill>
                  <a:srgbClr val="313131"/>
                </a:solidFill>
              </a:rPr>
              <a:t>за модернизация: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2% от общото количество квоти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5,84% дял за България  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Инвестиции в проекти, свързани с: </a:t>
            </a:r>
            <a:r>
              <a:rPr lang="bg-BG" sz="1200" dirty="0" err="1">
                <a:solidFill>
                  <a:srgbClr val="313131"/>
                </a:solidFill>
              </a:rPr>
              <a:t>ВЕИ</a:t>
            </a:r>
            <a:r>
              <a:rPr lang="bg-BG" sz="1200" dirty="0">
                <a:solidFill>
                  <a:srgbClr val="313131"/>
                </a:solidFill>
              </a:rPr>
              <a:t>, </a:t>
            </a:r>
            <a:r>
              <a:rPr lang="bg-BG" sz="1200" dirty="0" err="1">
                <a:solidFill>
                  <a:srgbClr val="313131"/>
                </a:solidFill>
              </a:rPr>
              <a:t>ЕЕ</a:t>
            </a:r>
            <a:r>
              <a:rPr lang="bg-BG" sz="1200" dirty="0">
                <a:solidFill>
                  <a:srgbClr val="313131"/>
                </a:solidFill>
              </a:rPr>
              <a:t>, мрежи, др.</a:t>
            </a: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09210" y="1616157"/>
            <a:ext cx="3876675" cy="2174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>
                <a:solidFill>
                  <a:srgbClr val="313131"/>
                </a:solidFill>
              </a:rPr>
              <a:t>Финансови инструменти: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>
                <a:solidFill>
                  <a:srgbClr val="313131"/>
                </a:solidFill>
              </a:rPr>
              <a:t>ЕЕ</a:t>
            </a:r>
            <a:endParaRPr lang="bg-BG" sz="1200" dirty="0">
              <a:solidFill>
                <a:srgbClr val="313131"/>
              </a:solidFill>
            </a:endParaRP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>
                <a:solidFill>
                  <a:srgbClr val="313131"/>
                </a:solidFill>
              </a:rPr>
              <a:t>Декарбонизация</a:t>
            </a:r>
            <a:endParaRPr lang="bg-BG" sz="1200" dirty="0">
              <a:solidFill>
                <a:srgbClr val="313131"/>
              </a:solidFill>
            </a:endParaRP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313131"/>
                </a:solidFill>
              </a:rPr>
              <a:t>R&amp;D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Енергийна инфраструктура</a:t>
            </a:r>
            <a:endParaRPr lang="en-US" sz="1200" dirty="0">
              <a:solidFill>
                <a:srgbClr val="313131"/>
              </a:solidFill>
            </a:endParaRP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>
                <a:solidFill>
                  <a:srgbClr val="313131"/>
                </a:solidFill>
              </a:rPr>
              <a:t>Други: 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Държавен бюджет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Частни инвестиции</a:t>
            </a:r>
            <a:endParaRPr lang="en-US" sz="1200" dirty="0">
              <a:solidFill>
                <a:srgbClr val="313131"/>
              </a:solidFill>
            </a:endParaRP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52425" y="680057"/>
            <a:ext cx="8439150" cy="567941"/>
          </a:xfrm>
        </p:spPr>
        <p:txBody>
          <a:bodyPr/>
          <a:lstStyle/>
          <a:p>
            <a:r>
              <a:rPr lang="bg-BG" dirty="0" smtClean="0"/>
              <a:t>Идентифицирани източници на финансиране за допълнителните мерки в </a:t>
            </a:r>
            <a:r>
              <a:rPr lang="bg-BG" dirty="0" err="1" smtClean="0"/>
              <a:t>НПЕ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58689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4047D33-C93C-4DE4-8D30-23D7C4B0D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425" y="636503"/>
            <a:ext cx="8439150" cy="692151"/>
          </a:xfrm>
        </p:spPr>
        <p:txBody>
          <a:bodyPr>
            <a:normAutofit/>
          </a:bodyPr>
          <a:lstStyle/>
          <a:p>
            <a:r>
              <a:rPr lang="bg-BG" dirty="0">
                <a:solidFill>
                  <a:srgbClr val="63666A"/>
                </a:solidFill>
              </a:rPr>
              <a:t>Цели за намаляване на емисиите н</a:t>
            </a:r>
            <a:r>
              <a:rPr lang="en-US" dirty="0">
                <a:solidFill>
                  <a:srgbClr val="63666A"/>
                </a:solidFill>
              </a:rPr>
              <a:t>a EC </a:t>
            </a:r>
            <a:r>
              <a:rPr lang="bg-BG" dirty="0">
                <a:solidFill>
                  <a:srgbClr val="63666A"/>
                </a:solidFill>
              </a:rPr>
              <a:t>съгласно Регламента на енергийния съюз</a:t>
            </a:r>
            <a:endParaRPr lang="en-US" dirty="0">
              <a:solidFill>
                <a:srgbClr val="63666A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8E24A5C-1DA6-4160-8273-2A39A04B7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425" y="1665291"/>
            <a:ext cx="8439150" cy="2066738"/>
          </a:xfrm>
        </p:spPr>
        <p:txBody>
          <a:bodyPr>
            <a:normAutofit/>
          </a:bodyPr>
          <a:lstStyle/>
          <a:p>
            <a:pPr algn="just"/>
            <a:r>
              <a:rPr lang="bg-BG" sz="1200" dirty="0"/>
              <a:t>Ц</a:t>
            </a:r>
            <a:r>
              <a:rPr lang="ru-RU" sz="1200" dirty="0"/>
              <a:t>ел на ЕС до 2030 г. от най-малко с 40 % спрямо равнищата от 1990 г</a:t>
            </a:r>
            <a:r>
              <a:rPr lang="ru-RU" sz="1200" dirty="0" smtClean="0"/>
              <a:t>.:</a:t>
            </a:r>
            <a:r>
              <a:rPr lang="en-GB" sz="1200" dirty="0" smtClean="0"/>
              <a:t> </a:t>
            </a:r>
            <a:endParaRPr lang="bg-BG" sz="1200" dirty="0"/>
          </a:p>
          <a:p>
            <a:pPr marL="171450" lvl="1" indent="-171450" algn="just">
              <a:buFont typeface="Arial" panose="020B0604020202020204" pitchFamily="34" charset="0"/>
              <a:buChar char="•"/>
            </a:pPr>
            <a:r>
              <a:rPr lang="bg-BG" sz="1200" dirty="0" smtClean="0"/>
              <a:t>Секторите в </a:t>
            </a:r>
            <a:r>
              <a:rPr lang="bg-BG" sz="1200" dirty="0"/>
              <a:t>СТЕ трябва да намалят емисиите си с 43% в сравнение с 2005 г</a:t>
            </a:r>
            <a:r>
              <a:rPr lang="en-US" sz="1200" dirty="0"/>
              <a:t>.</a:t>
            </a:r>
            <a:r>
              <a:rPr lang="bg-BG" sz="1200" dirty="0"/>
              <a:t> </a:t>
            </a:r>
            <a:r>
              <a:rPr lang="en-GB" sz="1200" dirty="0"/>
              <a:t>(</a:t>
            </a:r>
            <a:r>
              <a:rPr lang="ru-RU" sz="1200" dirty="0"/>
              <a:t>няма индивидуална цел за всяка държава членка, а се изпълнява на ниво ЕС</a:t>
            </a:r>
            <a:r>
              <a:rPr lang="en-GB" sz="1200" dirty="0"/>
              <a:t>)</a:t>
            </a:r>
            <a:endParaRPr lang="bg-BG" sz="1200" dirty="0"/>
          </a:p>
          <a:p>
            <a:pPr marL="171450" lvl="1" indent="-171450" algn="just">
              <a:buFont typeface="Arial" panose="020B0604020202020204" pitchFamily="34" charset="0"/>
              <a:buChar char="•"/>
            </a:pPr>
            <a:r>
              <a:rPr lang="ru-RU" sz="1200" dirty="0" err="1" smtClean="0"/>
              <a:t>Секторите</a:t>
            </a:r>
            <a:r>
              <a:rPr lang="ru-RU" sz="1200" dirty="0" smtClean="0"/>
              <a:t> </a:t>
            </a:r>
            <a:r>
              <a:rPr lang="ru-RU" sz="1200" dirty="0" err="1" smtClean="0"/>
              <a:t>извън</a:t>
            </a:r>
            <a:r>
              <a:rPr lang="ru-RU" sz="1200" dirty="0" smtClean="0"/>
              <a:t> </a:t>
            </a:r>
            <a:r>
              <a:rPr lang="ru-RU" sz="1200" dirty="0"/>
              <a:t>СТЕ </a:t>
            </a:r>
            <a:r>
              <a:rPr lang="bg-BG" sz="1200" dirty="0"/>
              <a:t>трябва да намалят емисиите си със</a:t>
            </a:r>
            <a:r>
              <a:rPr lang="ru-RU" sz="1200" dirty="0"/>
              <a:t> </a:t>
            </a:r>
            <a:r>
              <a:rPr lang="ru-RU" sz="1200" dirty="0" err="1"/>
              <a:t>съответно</a:t>
            </a:r>
            <a:r>
              <a:rPr lang="ru-RU" sz="1200" dirty="0"/>
              <a:t> 30 % до 2030 г. в сравнение с 2005 г. (индивидуални цели</a:t>
            </a:r>
            <a:r>
              <a:rPr lang="ru-RU" sz="1200" dirty="0" smtClean="0"/>
              <a:t>):</a:t>
            </a:r>
            <a:endParaRPr lang="ru-RU" sz="1200" dirty="0"/>
          </a:p>
          <a:p>
            <a:pPr lvl="3" algn="just"/>
            <a:r>
              <a:rPr lang="bg-BG" sz="1200" dirty="0" smtClean="0"/>
              <a:t>Националната цел </a:t>
            </a:r>
            <a:r>
              <a:rPr lang="bg-BG" sz="1200" dirty="0"/>
              <a:t>на България за намаляване на емисиите на парникови газове до 2030 г. в сравнение с 2005 г. за с</a:t>
            </a:r>
            <a:r>
              <a:rPr lang="ru-RU" sz="1200" dirty="0"/>
              <a:t>екторите извън СТЕ </a:t>
            </a:r>
            <a:r>
              <a:rPr lang="en-GB" sz="1200" dirty="0"/>
              <a:t>(</a:t>
            </a:r>
            <a:r>
              <a:rPr lang="ru-RU" sz="1200" dirty="0"/>
              <a:t>сграден фонд, селско стопанство, управление на отпадъците и транспорт</a:t>
            </a:r>
            <a:r>
              <a:rPr lang="en-GB" sz="1200" dirty="0"/>
              <a:t>)</a:t>
            </a:r>
            <a:r>
              <a:rPr lang="bg-BG" sz="1200" dirty="0"/>
              <a:t> е 0 </a:t>
            </a:r>
            <a:r>
              <a:rPr lang="bg-BG" sz="1200" dirty="0" smtClean="0"/>
              <a:t>%.</a:t>
            </a:r>
            <a:endParaRPr lang="ru-RU" dirty="0"/>
          </a:p>
        </p:txBody>
      </p:sp>
      <p:sp>
        <p:nvSpPr>
          <p:cNvPr id="5" name="Title 2"/>
          <p:cNvSpPr txBox="1">
            <a:spLocks/>
          </p:cNvSpPr>
          <p:nvPr/>
        </p:nvSpPr>
        <p:spPr bwMode="gray">
          <a:xfrm>
            <a:off x="352425" y="280755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spcBef>
                <a:spcPct val="0"/>
              </a:spcBef>
              <a:buNone/>
              <a:defRPr sz="1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bg-BG" smtClean="0"/>
              <a:t>Декарбонизац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14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Основни изходни данни</a:t>
            </a: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D3D43F71-2D47-4D93-8435-DF3AFEF61B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4799413"/>
              </p:ext>
            </p:extLst>
          </p:nvPr>
        </p:nvGraphicFramePr>
        <p:xfrm>
          <a:off x="1296599" y="1525397"/>
          <a:ext cx="6898277" cy="4539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76238" y="804529"/>
            <a:ext cx="8391525" cy="567941"/>
          </a:xfrm>
        </p:spPr>
        <p:txBody>
          <a:bodyPr/>
          <a:lstStyle/>
          <a:p>
            <a:r>
              <a:rPr lang="bg-BG" dirty="0" smtClean="0"/>
              <a:t>Макроикономически показател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554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DF579A-D99A-4079-9E1D-CCC09ED76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Резултати: Намаление </a:t>
            </a:r>
            <a:r>
              <a:rPr lang="bg-BG" dirty="0" smtClean="0"/>
              <a:t>парникови газове </a:t>
            </a:r>
            <a:r>
              <a:rPr lang="bg-BG" dirty="0"/>
              <a:t>общо БГ икономика</a:t>
            </a:r>
            <a:endParaRPr lang="en-US" dirty="0"/>
          </a:p>
        </p:txBody>
      </p:sp>
      <p:graphicFrame>
        <p:nvGraphicFramePr>
          <p:cNvPr id="3" name="Chart 2" descr="Clustered Column. Multiple values by 'Общо емисии на парникови газове, в ktn CO2 eq'. Description automatically generated.">
            <a:extLst>
              <a:ext uri="{FF2B5EF4-FFF2-40B4-BE49-F238E27FC236}">
                <a16:creationId xmlns:a16="http://schemas.microsoft.com/office/drawing/2014/main" xmlns="" id="{549FAD26-4AA1-4D69-A0C7-D7B6B9210D7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99160" y="2007870"/>
          <a:ext cx="7018020" cy="3802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9121126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72BB4B-54F9-43D3-AD3B-DD2F22094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Резултати: </a:t>
            </a:r>
            <a:r>
              <a:rPr lang="bg-BG" dirty="0" smtClean="0"/>
              <a:t>Парникови газове </a:t>
            </a:r>
            <a:r>
              <a:rPr lang="bg-BG" dirty="0"/>
              <a:t>от енергиен сектор</a:t>
            </a:r>
            <a:endParaRPr lang="en-US" dirty="0"/>
          </a:p>
        </p:txBody>
      </p:sp>
      <p:graphicFrame>
        <p:nvGraphicFramePr>
          <p:cNvPr id="3" name="Chart 2" descr="Clustered Column. Multiple values by 'Енергиен сектор  Общо емисии на парникови газове, в ktn CO2 eq'. Description automatically generated.">
            <a:extLst>
              <a:ext uri="{FF2B5EF4-FFF2-40B4-BE49-F238E27FC236}">
                <a16:creationId xmlns:a16="http://schemas.microsoft.com/office/drawing/2014/main" xmlns="" id="{4F168FA3-BC3B-4BC1-8781-211E027474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5145711"/>
              </p:ext>
            </p:extLst>
          </p:nvPr>
        </p:nvGraphicFramePr>
        <p:xfrm>
          <a:off x="502920" y="2282190"/>
          <a:ext cx="8183880" cy="3192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49204295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112" y="2759759"/>
            <a:ext cx="8391525" cy="692150"/>
          </a:xfrm>
        </p:spPr>
        <p:txBody>
          <a:bodyPr/>
          <a:lstStyle/>
          <a:p>
            <a:pPr algn="ctr"/>
            <a:r>
              <a:rPr lang="bg-BG" sz="3200" dirty="0" smtClean="0"/>
              <a:t>Благодаря за вниманието!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2876214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12807" y="525545"/>
            <a:ext cx="8439150" cy="365001"/>
          </a:xfrm>
        </p:spPr>
        <p:txBody>
          <a:bodyPr/>
          <a:lstStyle/>
          <a:p>
            <a:r>
              <a:rPr lang="bg-BG" dirty="0" smtClean="0"/>
              <a:t>Брутно вътрешно потребление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07" y="176760"/>
            <a:ext cx="8439150" cy="334102"/>
          </a:xfrm>
        </p:spPr>
        <p:txBody>
          <a:bodyPr/>
          <a:lstStyle/>
          <a:p>
            <a:r>
              <a:rPr lang="bg-BG" dirty="0" smtClean="0"/>
              <a:t>Енергиен микс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9BCC2B2A-2187-48D8-894B-EB34271F122C}"/>
              </a:ext>
            </a:extLst>
          </p:cNvPr>
          <p:cNvGrpSpPr/>
          <p:nvPr/>
        </p:nvGrpSpPr>
        <p:grpSpPr>
          <a:xfrm>
            <a:off x="244141" y="905229"/>
            <a:ext cx="8439150" cy="5032089"/>
            <a:chOff x="0" y="0"/>
            <a:chExt cx="9281433" cy="4068536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xmlns="" id="{2B182C68-8B3C-4E87-A2CE-DAAD86A77FB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73835702"/>
                </p:ext>
              </p:extLst>
            </p:nvPr>
          </p:nvGraphicFramePr>
          <p:xfrm>
            <a:off x="0" y="0"/>
            <a:ext cx="4921703" cy="40581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xmlns="" id="{2DBB5DA1-607F-492E-997E-BB0D94D08B8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56710"/>
                </p:ext>
              </p:extLst>
            </p:nvPr>
          </p:nvGraphicFramePr>
          <p:xfrm>
            <a:off x="4716236" y="12245"/>
            <a:ext cx="4565197" cy="405629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361416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Нетно производство на електроенергия по видове централи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CBC22694-D26B-4B4D-BFC9-6586921A7201}"/>
              </a:ext>
            </a:extLst>
          </p:cNvPr>
          <p:cNvGrpSpPr/>
          <p:nvPr/>
        </p:nvGrpSpPr>
        <p:grpSpPr>
          <a:xfrm>
            <a:off x="127322" y="1157468"/>
            <a:ext cx="8912506" cy="4593551"/>
            <a:chOff x="0" y="0"/>
            <a:chExt cx="9389729" cy="4644038"/>
          </a:xfrm>
        </p:grpSpPr>
        <p:graphicFrame>
          <p:nvGraphicFramePr>
            <p:cNvPr id="11" name="Chart 10">
              <a:extLst>
                <a:ext uri="{FF2B5EF4-FFF2-40B4-BE49-F238E27FC236}">
                  <a16:creationId xmlns:a16="http://schemas.microsoft.com/office/drawing/2014/main" xmlns="" id="{CBF2FC0A-9617-4F35-9154-468B7921CF1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37496113"/>
                </p:ext>
              </p:extLst>
            </p:nvPr>
          </p:nvGraphicFramePr>
          <p:xfrm>
            <a:off x="0" y="11205"/>
            <a:ext cx="5743814" cy="46328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xmlns="" id="{8481204D-8FF5-4119-A2F2-0E6DCF53F01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46540361"/>
                </p:ext>
              </p:extLst>
            </p:nvPr>
          </p:nvGraphicFramePr>
          <p:xfrm>
            <a:off x="5759173" y="0"/>
            <a:ext cx="3630556" cy="46440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210675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Нетна инсталирана мощност по вид централа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/>
              <a:t>Енергийна сигурност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CFC9D4B-92CD-4B08-8670-95F43E7A71FE}"/>
              </a:ext>
            </a:extLst>
          </p:cNvPr>
          <p:cNvGrpSpPr/>
          <p:nvPr/>
        </p:nvGrpSpPr>
        <p:grpSpPr>
          <a:xfrm>
            <a:off x="106326" y="1339702"/>
            <a:ext cx="8867553" cy="5039833"/>
            <a:chOff x="0" y="0"/>
            <a:chExt cx="9064760" cy="4772105"/>
          </a:xfrm>
        </p:grpSpPr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xmlns="" id="{852026DF-6825-4A99-AE21-59951F38E8A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17094361"/>
                </p:ext>
              </p:extLst>
            </p:nvPr>
          </p:nvGraphicFramePr>
          <p:xfrm>
            <a:off x="0" y="0"/>
            <a:ext cx="5743814" cy="47721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xmlns="" id="{128B347B-3924-4B47-9099-B38F29C7509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131400655"/>
                </p:ext>
              </p:extLst>
            </p:nvPr>
          </p:nvGraphicFramePr>
          <p:xfrm>
            <a:off x="5687785" y="11205"/>
            <a:ext cx="3376975" cy="47609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15107851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Основни цели, мерки и политики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2425" y="1155791"/>
            <a:ext cx="5949990" cy="866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>
                <a:solidFill>
                  <a:schemeClr val="accent4"/>
                </a:solidFill>
              </a:rPr>
              <a:t>Сегашно състояние: 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Енергийната зависимост на страната е значително по-ниска от средната от държавите-членки в ЕС</a:t>
            </a: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2425" y="2349463"/>
            <a:ext cx="8439151" cy="3418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b="1" dirty="0">
                <a:solidFill>
                  <a:schemeClr val="accent4"/>
                </a:solidFill>
              </a:rPr>
              <a:t>Цели, мерки и политики: 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Увеличаване на диверсификацията на енергийни източници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Развитие на местен добив на природен газ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Оползотворяване на потенциала на </a:t>
            </a:r>
            <a:r>
              <a:rPr lang="bg-BG" sz="1200" dirty="0" err="1">
                <a:solidFill>
                  <a:srgbClr val="313131"/>
                </a:solidFill>
              </a:rPr>
              <a:t>ВЕИ</a:t>
            </a:r>
            <a:r>
              <a:rPr lang="bg-BG" sz="1200" dirty="0">
                <a:solidFill>
                  <a:srgbClr val="313131"/>
                </a:solidFill>
              </a:rPr>
              <a:t> като местен ресурс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Повишаване гъвкавостта на </a:t>
            </a:r>
            <a:r>
              <a:rPr lang="bg-BG" sz="1200" dirty="0" smtClean="0">
                <a:solidFill>
                  <a:srgbClr val="313131"/>
                </a:solidFill>
              </a:rPr>
              <a:t>националната </a:t>
            </a:r>
            <a:r>
              <a:rPr lang="bg-BG" sz="1200" dirty="0">
                <a:solidFill>
                  <a:srgbClr val="313131"/>
                </a:solidFill>
              </a:rPr>
              <a:t>енергийна система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Запазване на ключовата роля на въглищата като местен енергиен ресурс 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Запазване ролята на ядрената енергетика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Поддръжка и развитие на електро и газовата инфраструктура</a:t>
            </a:r>
          </a:p>
          <a:p>
            <a:pPr marL="838200" lvl="2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Увеличаване на капацитета на съхранение на електрическа енергия и природен газ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Подобряване на устойчивостта на националната и регионални енергийни системи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>
                <a:solidFill>
                  <a:srgbClr val="313131"/>
                </a:solidFill>
              </a:rPr>
              <a:t>Сигурност на </a:t>
            </a:r>
            <a:r>
              <a:rPr lang="bg-BG" sz="1200" dirty="0" smtClean="0">
                <a:solidFill>
                  <a:srgbClr val="313131"/>
                </a:solidFill>
              </a:rPr>
              <a:t>доставките</a:t>
            </a: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r>
              <a:rPr lang="bg-BG" sz="1200" dirty="0" err="1" smtClean="0">
                <a:solidFill>
                  <a:srgbClr val="313131"/>
                </a:solidFill>
              </a:rPr>
              <a:t>Киберсигурност</a:t>
            </a:r>
            <a:endParaRPr lang="bg-BG" sz="1200" dirty="0">
              <a:solidFill>
                <a:srgbClr val="313131"/>
              </a:solidFill>
            </a:endParaRPr>
          </a:p>
          <a:p>
            <a:pPr marL="495300" lvl="1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bg-BG" sz="1200" dirty="0">
              <a:solidFill>
                <a:srgbClr val="313131"/>
              </a:solidFill>
            </a:endParaRPr>
          </a:p>
          <a:p>
            <a:pPr marL="152400" indent="-152400">
              <a:spcBef>
                <a:spcPts val="45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1279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Доставки на природен газ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428329"/>
            <a:ext cx="962026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smtClean="0">
                <a:solidFill>
                  <a:schemeClr val="bg1"/>
                </a:solidFill>
              </a:rPr>
              <a:t>Сектор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1336072" y="1428329"/>
            <a:ext cx="2019299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Коментар на Комисията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355371" y="1434361"/>
            <a:ext cx="1502380" cy="440871"/>
          </a:xfrm>
          <a:prstGeom prst="chevron">
            <a:avLst/>
          </a:prstGeom>
          <a:solidFill>
            <a:srgbClr val="9DD4C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err="1">
                <a:solidFill>
                  <a:schemeClr val="accent4"/>
                </a:solidFill>
              </a:rPr>
              <a:t>НПЕК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857750" y="1428329"/>
            <a:ext cx="3714750" cy="440871"/>
          </a:xfrm>
          <a:prstGeom prst="chevron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Политики и мерки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362638"/>
              </p:ext>
            </p:extLst>
          </p:nvPr>
        </p:nvGraphicFramePr>
        <p:xfrm>
          <a:off x="352425" y="2071868"/>
          <a:ext cx="8202930" cy="41415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7755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1588770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3850005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4141528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ироден газ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деждна стратегия за разнообразяване доставките на газ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ремеви</a:t>
                      </a:r>
                      <a:r>
                        <a:rPr lang="bg-BG" sz="10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лан за изпълнение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ъпрос предимно на енергийна сигурност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помага за либерализирането на пазара</a:t>
                      </a:r>
                    </a:p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съществени: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ългария-Румъния (</a:t>
                      </a:r>
                      <a:r>
                        <a:rPr lang="bg-BG" sz="1000" b="0" baseline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BR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LNG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Терминал </a:t>
                      </a:r>
                      <a:r>
                        <a:rPr lang="bg-BG" sz="1000" b="0" baseline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Ревитуса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– първа сделка от 2019 г.</a:t>
                      </a:r>
                    </a:p>
                    <a:p>
                      <a:pPr marL="171450" lvl="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ови:</a:t>
                      </a:r>
                      <a:endParaRPr lang="bg-BG" sz="1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ългария-Гърция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bg-BG" sz="1000" b="0" baseline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G</a:t>
                      </a:r>
                      <a:r>
                        <a:rPr lang="en-US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– 2020 г.</a:t>
                      </a:r>
                      <a:endParaRPr lang="bg-BG" sz="1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ългария-Сърбия (</a:t>
                      </a: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IBS</a:t>
                      </a: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– в експлоатация от средата на 2022 г.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LNG</a:t>
                      </a: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терминал до Александруполис - търговски операции от  2022 година.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зширение </a:t>
                      </a: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ГХ</a:t>
                      </a: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„Чирен” – в експлоатация от 2025 г.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ехабилитация, модернизация и разширение на българската газопреносна система - въвеждане в експлоатация през 2022 г. </a:t>
                      </a: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Eastring</a:t>
                      </a:r>
                      <a:endParaRPr lang="bg-BG" sz="1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BRUA</a:t>
                      </a:r>
                      <a:endParaRPr lang="bg-BG" sz="1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bg-BG" sz="1000" b="0" noProof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Газоразпределителен</a:t>
                      </a:r>
                      <a:r>
                        <a:rPr lang="bg-BG" sz="1000" b="0" baseline="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център „Балкан“</a:t>
                      </a:r>
                      <a:endParaRPr lang="bg-BG" sz="1000" b="0" noProof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781035" lvl="1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0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0359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459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bg-BG" dirty="0" smtClean="0"/>
              <a:t>Ядрена енергетика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Енергийна сигурност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352425" y="1324156"/>
            <a:ext cx="962026" cy="440871"/>
          </a:xfrm>
          <a:prstGeom prst="homePlate">
            <a:avLst/>
          </a:prstGeom>
          <a:solidFill>
            <a:schemeClr val="bg2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smtClean="0">
                <a:solidFill>
                  <a:schemeClr val="bg1"/>
                </a:solidFill>
              </a:rPr>
              <a:t>Сектор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1336072" y="1324156"/>
            <a:ext cx="2019299" cy="440871"/>
          </a:xfrm>
          <a:prstGeom prst="chevron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Коментар на Комисията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355371" y="1330188"/>
            <a:ext cx="1502380" cy="440871"/>
          </a:xfrm>
          <a:prstGeom prst="chevron">
            <a:avLst/>
          </a:prstGeom>
          <a:solidFill>
            <a:srgbClr val="9DD4C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 err="1">
                <a:solidFill>
                  <a:schemeClr val="accent4"/>
                </a:solidFill>
              </a:rPr>
              <a:t>НПЕК</a:t>
            </a:r>
            <a:endParaRPr lang="en-US" sz="1200" dirty="0">
              <a:solidFill>
                <a:schemeClr val="accent4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857750" y="1324156"/>
            <a:ext cx="3714750" cy="440871"/>
          </a:xfrm>
          <a:prstGeom prst="chevron">
            <a:avLst/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88900" rIns="88900" bIns="88900" rtlCol="0" anchor="ctr"/>
          <a:lstStyle/>
          <a:p>
            <a:r>
              <a:rPr lang="bg-BG" sz="1200" dirty="0">
                <a:solidFill>
                  <a:schemeClr val="bg1"/>
                </a:solidFill>
              </a:rPr>
              <a:t>Политики и мерки</a:t>
            </a:r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602586"/>
              </p:ext>
            </p:extLst>
          </p:nvPr>
        </p:nvGraphicFramePr>
        <p:xfrm>
          <a:off x="352425" y="1848677"/>
          <a:ext cx="8202930" cy="4221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7755">
                  <a:extLst>
                    <a:ext uri="{9D8B030D-6E8A-4147-A177-3AD203B41FA5}">
                      <a16:colId xmlns:a16="http://schemas.microsoft.com/office/drawing/2014/main" xmlns="" val="3811249421"/>
                    </a:ext>
                  </a:extLst>
                </a:gridCol>
                <a:gridCol w="1834648">
                  <a:extLst>
                    <a:ext uri="{9D8B030D-6E8A-4147-A177-3AD203B41FA5}">
                      <a16:colId xmlns:a16="http://schemas.microsoft.com/office/drawing/2014/main" xmlns="" val="359571293"/>
                    </a:ext>
                  </a:extLst>
                </a:gridCol>
                <a:gridCol w="1944872">
                  <a:extLst>
                    <a:ext uri="{9D8B030D-6E8A-4147-A177-3AD203B41FA5}">
                      <a16:colId xmlns:a16="http://schemas.microsoft.com/office/drawing/2014/main" xmlns="" val="2045098174"/>
                    </a:ext>
                  </a:extLst>
                </a:gridCol>
                <a:gridCol w="3335655">
                  <a:extLst>
                    <a:ext uri="{9D8B030D-6E8A-4147-A177-3AD203B41FA5}">
                      <a16:colId xmlns:a16="http://schemas.microsoft.com/office/drawing/2014/main" xmlns="" val="1510474616"/>
                    </a:ext>
                  </a:extLst>
                </a:gridCol>
              </a:tblGrid>
              <a:tr h="1600200">
                <a:tc>
                  <a:txBody>
                    <a:bodyPr/>
                    <a:lstStyle/>
                    <a:p>
                      <a:pPr marL="0" indent="0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bg-BG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Ядрена енергетика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bg-BG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аква</a:t>
                      </a: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е стратегията за д</a:t>
                      </a:r>
                      <a:r>
                        <a:rPr lang="bg-BG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ългосрочни доставки</a:t>
                      </a: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ядрени материали и гориво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иверсификация на доставките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bg-BG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ледване</a:t>
                      </a: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литиката на </a:t>
                      </a:r>
                      <a:r>
                        <a:rPr lang="bg-BG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Евратом</a:t>
                      </a: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а 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иверсификация на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доставките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ядрено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гориво</a:t>
                      </a:r>
                      <a:endParaRPr lang="ru-RU" sz="1200" b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тратегия за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отработено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ядрено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гориво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и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радиоактивни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отпадъци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о 2030 г.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иверсификация на производителите на ядрено гориво; 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ържане на достатъчен резерв от гориво на площадките на АЕЦ;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 30 ноември 2019 г., Европейската агенция по доставките (ESA) съгласува договор за доставки на свежо ядрено гориво;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SA прие пътна карта за диверсификация на доставките, съгласно която  </a:t>
                      </a:r>
                      <a:r>
                        <a:rPr lang="bg-BG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оцесът по лицензиране на доставчика на свежо ядрено гориво трябва да приключи до юли 2024 г.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; </a:t>
                      </a:r>
                    </a:p>
                    <a:p>
                      <a:pPr marL="171450" marR="0" lvl="0" indent="-17145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онкурентни процедури при избор на доставчици;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явяване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 т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ърг за доставка лицензиране на алтернативното гориво от Агенцията за ядрено регулиране.</a:t>
                      </a:r>
                    </a:p>
                  </a:txBody>
                  <a:tcPr marT="91440" marB="9144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99058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69975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6b6Z7.VGNKgijDHOHR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pmLh3zGcA87jhFa0C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fv5WZfPbCeFtVNyCbF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BSLTzlVTHqSLVfV5sw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WIYTQ97AGFV6_NtH0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P74VfrRNjk8jdb8lLg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aWmhU7qur1aZZXOINe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4JQNWcXGSNSwhUCW1G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sAZQPa0I8qUtI6Sjqo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ZcKgaOjwLutrQL6xG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pccjcqoaavjcUHhB8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qhVni7wM_rK4AOciBf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DlOcCGEqKm2Cd1OQF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s89QffoRUdNHToGQw5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XDJmZhURvnnaVs0hRq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7eKDNi6wM6bFoPBy0w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6jqNg52.fGcOywsMfZ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rFr6G55bvnC4Lx_U5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xuT.CvsIInF0FEVgSc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zwVvDB7T2ajbhocUmt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7Jo0XntyJRazray48O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UV6lXC2589jYxgBkrQ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V.kqpj8JtzcQwRdRUK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v.ryWun7qPNQkKOOz0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DW09VBW6BWKqzEf2Fr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Bva3V9GwpBGtl8EuFf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6IRqDzRYyT4n1X1Qi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kyreXjgK8lEwwKdqb2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r1Qt_AKOiP2ieoIdWQ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8nKn8Y0lVj8fEdMduS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w9Zwp1NPBNDq.dE1F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14e2N07.SuftYtFTTP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Bo.d9iSnW_D5EpuQ4Q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im3vb_hCTP73JkyiPp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rv7ZI.Q7bVOEm7fwpP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LuqQPqdis2McZO9aDf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3TpVdwObWu3epLfvDu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pdLLAPmQhphy4Vc7Mm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E7VVyi6qENpl2qjuK4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hQYeHbSIAiFPXZhKz5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P74VfrRNjk8jdb8lLg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JCvS6pTdsFDQDj4Po2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YDFxurWJAHyZw0T5iq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87eNiEFwFgcP3DEHIA6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8ebtxAu_yGQBECzK3b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qhVni7wM_rK4AOciBf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a1.fmITHpFI598H9b8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uQgjxZEfDf_uOj6B7o2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pmLh3zGcA87jhFa0C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jPFy2WY0ESo2yPI52Co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v8L1kzlCg6yoTf5.Oa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3UpN1026oLqnF0Z_3l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MGiqQyozjYhw7V2APs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rbXK9OGon.hZpS4_o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xyGFq.SI3H2NMubKnV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v6cCVwXgSHXr5wD5R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Bo.d9iSnW_D5EpuQ4Q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BBciYg_7SUjHY9mxW1q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jidMI8alJlsnwFmIkv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pmLh3zGcA87jhFa0C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UMSILSd3KbgUfkpTKT5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f6kjfN08aLJMCHtR45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bPp3dIP7Y3rQv5vgIw8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OAO33z.AtBp1XYLtHh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W1plWRRpkr31SgTqVP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_Jaw9cM6csqqfRCtS5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P74VfrRNjk8jdb8lLg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.WoQ7gqKKa_hYP04yKn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qhVni7wM_rK4AOciBf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fv5WZfPbCeFtVNyCbF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P74VfrRNjk8jdb8lLgR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qfX7WsEGmXiUzf7sSi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X2w8O6_NmuRTbn7c72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DlOcCGEqKm2Cd1OQFi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22YXkRlo.yAx9Cud2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.dcmIz5RjMIvF7rQXy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u5ySTDr1nJ75ELuH2zw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dw21UHlJv_dMPx.rUa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pmLh3zGcA87jhFa0C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rFr6G55bvnC4Lx_U5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G0nnmpqefQTZaKlCnT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qhVni7wM_rK4AOciBf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MLnKYSDz9RJobC3NJwW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pDE6YHHQM15DeQkccR.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Ng0DouBupvM3cobNZj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L8nvxqWNNoQUw.kcI0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BFn8xs47UJFs3ezEkK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QCAdLJdhoFDNbG60d4D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kyreXjgK8lEwwKdqb2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8nKn8Y0lVj8fEdMduSf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MUVK7xuRcRg1TuWAYiA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Deloitte_4_3_Onscreen.potx" id="{300F3ED9-9C4C-4838-B157-107BB206E623}" vid="{ABD9136E-862F-4680-B56C-E8832C898BE1}"/>
    </a:ext>
  </a:extLst>
</a:theme>
</file>

<file path=ppt/theme/theme2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Deloitte_US 16_9_Onscreen.potx" id="{82E929E5-07E3-4FFC-922B-1DC2D1592D72}" vid="{34A8941C-3B27-4420-B6D1-6520D4ABD31E}"/>
    </a:ext>
  </a:extLst>
</a:theme>
</file>

<file path=ppt/theme/theme3.xml><?xml version="1.0" encoding="utf-8"?>
<a:theme xmlns:a="http://schemas.openxmlformats.org/drawingml/2006/main" name="2_Anime_1_www.FreeDownloadPowerPoint.com">
  <a:themeElements>
    <a:clrScheme name="2_Anime_1_www.FreeDownloadPowerPoint.com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Anime_1_www.FreeDownloadPowerPoint.c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Anime_1_www.FreeDownloadPowerPoint.com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nime_1_www.FreeDownloadPowerPoint.com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nime_1_www.FreeDownloadPowerPoint.com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nime_1_www.FreeDownloadPowerPoint.com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nime_1_www.FreeDownloadPowerPoint.com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nime_1_www.FreeDownloadPowerPoint.com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Anime_1_www.FreeDownloadPowerPoint.com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9</TotalTime>
  <Words>2226</Words>
  <Application>Microsoft Office PowerPoint</Application>
  <PresentationFormat>On-screen Show (4:3)</PresentationFormat>
  <Paragraphs>507</Paragraphs>
  <Slides>3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6" baseType="lpstr">
      <vt:lpstr>Deloitte 16_9 onscreen</vt:lpstr>
      <vt:lpstr>Deloitte_US_Onscreen</vt:lpstr>
      <vt:lpstr>2_Anime_1_www.FreeDownloadPowerPoint.com</vt:lpstr>
      <vt:lpstr>think-cell Slide</vt:lpstr>
      <vt:lpstr>НПЕК България 2021 - 2030</vt:lpstr>
      <vt:lpstr>Енергиен съюз</vt:lpstr>
      <vt:lpstr>Основни изходни данни</vt:lpstr>
      <vt:lpstr>Енергиен микс</vt:lpstr>
      <vt:lpstr>Енергийна сигурност</vt:lpstr>
      <vt:lpstr>Енергийна сигурност</vt:lpstr>
      <vt:lpstr>Енергийна сигурност</vt:lpstr>
      <vt:lpstr>Енергийна сигурност</vt:lpstr>
      <vt:lpstr>Енергийна сигурност</vt:lpstr>
      <vt:lpstr>Енергийна сигурност</vt:lpstr>
      <vt:lpstr>Енергийна сигурност</vt:lpstr>
      <vt:lpstr>Вътрешен енергиен пазар</vt:lpstr>
      <vt:lpstr>Вътрешен енергиен пазар</vt:lpstr>
      <vt:lpstr>ВЕИ</vt:lpstr>
      <vt:lpstr>Дял на енергията от ВИ в брутното крайно потребление на енергия (%)</vt:lpstr>
      <vt:lpstr>Секторни цели за енергия от ВИ</vt:lpstr>
      <vt:lpstr>ВИ</vt:lpstr>
      <vt:lpstr>ВИ</vt:lpstr>
      <vt:lpstr>Енергийна ефективност</vt:lpstr>
      <vt:lpstr>Енергийна ефективност</vt:lpstr>
      <vt:lpstr>Енергийни спестявания в крайното потребление съгласно чл. 7, ал. 1 </vt:lpstr>
      <vt:lpstr>Енергийна ефективност</vt:lpstr>
      <vt:lpstr>Енергийна ефективност</vt:lpstr>
      <vt:lpstr>Научни изследвания, иновации, конкурентоспособност</vt:lpstr>
      <vt:lpstr>Научни изследвания, иновации, конкурентоспособност</vt:lpstr>
      <vt:lpstr>Регионално сътрудничество</vt:lpstr>
      <vt:lpstr>Прогнозни годишни разходи за енергия при постигане на целите</vt:lpstr>
      <vt:lpstr>Източници на финансиране</vt:lpstr>
      <vt:lpstr>Цели за намаляване на емисиите нa EC съгласно Регламента на енергийния съюз</vt:lpstr>
      <vt:lpstr>Резултати: Намаление парникови газове общо БГ икономика</vt:lpstr>
      <vt:lpstr>Резултати: Парникови газове от енергиен сектор</vt:lpstr>
      <vt:lpstr>Благодаря за вниманието!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Project Plan</dc:title>
  <dc:creator>ME</dc:creator>
  <cp:lastModifiedBy>komisia energetika</cp:lastModifiedBy>
  <cp:revision>403</cp:revision>
  <cp:lastPrinted>2019-12-18T08:46:31Z</cp:lastPrinted>
  <dcterms:created xsi:type="dcterms:W3CDTF">2019-08-13T13:38:53Z</dcterms:created>
  <dcterms:modified xsi:type="dcterms:W3CDTF">2019-12-19T07:34:42Z</dcterms:modified>
</cp:coreProperties>
</file>